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4.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5.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7.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8.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9.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2.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3.xml" ContentType="application/vnd.openxmlformats-officedocument.presentationml.notesSlide+xml"/>
  <Override PartName="/ppt/tags/tag100.xml" ContentType="application/vnd.openxmlformats-officedocument.presentationml.tags+xml"/>
  <Override PartName="/ppt/notesSlides/notesSlide14.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5.xml" ContentType="application/vnd.openxmlformats-officedocument.presentationml.notesSlid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6.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8.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9.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0.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22.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7"/>
  </p:notesMasterIdLst>
  <p:handoutMasterIdLst>
    <p:handoutMasterId r:id="rId28"/>
  </p:handoutMasterIdLst>
  <p:sldIdLst>
    <p:sldId id="278" r:id="rId2"/>
    <p:sldId id="374" r:id="rId3"/>
    <p:sldId id="440" r:id="rId4"/>
    <p:sldId id="279" r:id="rId5"/>
    <p:sldId id="274" r:id="rId6"/>
    <p:sldId id="442" r:id="rId7"/>
    <p:sldId id="443" r:id="rId8"/>
    <p:sldId id="444" r:id="rId9"/>
    <p:sldId id="445" r:id="rId10"/>
    <p:sldId id="446" r:id="rId11"/>
    <p:sldId id="270" r:id="rId12"/>
    <p:sldId id="277" r:id="rId13"/>
    <p:sldId id="284" r:id="rId14"/>
    <p:sldId id="447" r:id="rId15"/>
    <p:sldId id="292" r:id="rId16"/>
    <p:sldId id="380" r:id="rId17"/>
    <p:sldId id="267" r:id="rId18"/>
    <p:sldId id="375" r:id="rId19"/>
    <p:sldId id="441" r:id="rId20"/>
    <p:sldId id="264" r:id="rId21"/>
    <p:sldId id="376" r:id="rId22"/>
    <p:sldId id="377" r:id="rId23"/>
    <p:sldId id="378" r:id="rId24"/>
    <p:sldId id="257" r:id="rId25"/>
    <p:sldId id="262" r:id="rId26"/>
  </p:sldIdLst>
  <p:sldSz cx="12192000" cy="6858000"/>
  <p:notesSz cx="6950075" cy="9236075"/>
  <p:custShowLst>
    <p:custShow name="Format Guide Workshop" id="0">
      <p:sldLst/>
    </p:custShow>
  </p:custShow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91AF44B-E311-419D-8F82-41A808961B07}">
          <p14:sldIdLst>
            <p14:sldId id="278"/>
            <p14:sldId id="374"/>
            <p14:sldId id="440"/>
            <p14:sldId id="279"/>
            <p14:sldId id="274"/>
            <p14:sldId id="442"/>
            <p14:sldId id="443"/>
            <p14:sldId id="444"/>
            <p14:sldId id="445"/>
            <p14:sldId id="446"/>
            <p14:sldId id="270"/>
            <p14:sldId id="277"/>
            <p14:sldId id="284"/>
            <p14:sldId id="447"/>
            <p14:sldId id="292"/>
            <p14:sldId id="380"/>
            <p14:sldId id="267"/>
            <p14:sldId id="375"/>
            <p14:sldId id="441"/>
            <p14:sldId id="264"/>
            <p14:sldId id="376"/>
            <p14:sldId id="377"/>
            <p14:sldId id="378"/>
          </p14:sldIdLst>
        </p14:section>
        <p14:section name="Old Slides" id="{C60CD57E-C20A-48AA-89D3-E47F3EB35A5C}">
          <p14:sldIdLst>
            <p14:sldId id="257"/>
            <p14:sldId id="262"/>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belmann, Brian" initials="TB" lastIdx="1" clrIdx="0">
    <p:extLst>
      <p:ext uri="{19B8F6BF-5375-455C-9EA6-DF929625EA0E}">
        <p15:presenceInfo xmlns:p15="http://schemas.microsoft.com/office/powerpoint/2012/main" userId="Tobelmann, Bri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03522D"/>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87" autoAdjust="0"/>
    <p:restoredTop sz="89237" autoAdjust="0"/>
  </p:normalViewPr>
  <p:slideViewPr>
    <p:cSldViewPr snapToGrid="0">
      <p:cViewPr varScale="1">
        <p:scale>
          <a:sx n="59" d="100"/>
          <a:sy n="59" d="100"/>
        </p:scale>
        <p:origin x="812" y="6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200" d="100"/>
        <a:sy n="200" d="100"/>
      </p:scale>
      <p:origin x="0" y="0"/>
    </p:cViewPr>
  </p:sorterViewPr>
  <p:notesViewPr>
    <p:cSldViewPr snapToGrid="0">
      <p:cViewPr>
        <p:scale>
          <a:sx n="75" d="100"/>
          <a:sy n="75" d="100"/>
        </p:scale>
        <p:origin x="5344" y="1472"/>
      </p:cViewPr>
      <p:guideLst/>
    </p:cSldViewPr>
  </p:notesViewPr>
  <p:gridSpacing cx="39601" cy="39601"/>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sz="2400" dirty="0"/>
              <a:t>Point Allocation by Finishing Place</a:t>
            </a:r>
            <a:r>
              <a:rPr lang="en-US" sz="2400" baseline="30000" dirty="0"/>
              <a:t>1</a:t>
            </a:r>
            <a:endParaRPr lang="en-US" sz="2400" dirty="0"/>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lumMod val="90000"/>
                <a:lumOff val="1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1st</c:v>
                </c:pt>
                <c:pt idx="1">
                  <c:v>2nd</c:v>
                </c:pt>
                <c:pt idx="2">
                  <c:v>3rd</c:v>
                </c:pt>
                <c:pt idx="3">
                  <c:v>4th</c:v>
                </c:pt>
                <c:pt idx="4">
                  <c:v>5th</c:v>
                </c:pt>
                <c:pt idx="5">
                  <c:v>6th</c:v>
                </c:pt>
                <c:pt idx="6">
                  <c:v>7th</c:v>
                </c:pt>
                <c:pt idx="7">
                  <c:v>8th</c:v>
                </c:pt>
                <c:pt idx="8">
                  <c:v>9th</c:v>
                </c:pt>
                <c:pt idx="9">
                  <c:v>10th</c:v>
                </c:pt>
                <c:pt idx="10">
                  <c:v>11th</c:v>
                </c:pt>
                <c:pt idx="11">
                  <c:v>12th</c:v>
                </c:pt>
                <c:pt idx="12">
                  <c:v>13th</c:v>
                </c:pt>
                <c:pt idx="13">
                  <c:v>14th</c:v>
                </c:pt>
                <c:pt idx="14">
                  <c:v>15th</c:v>
                </c:pt>
                <c:pt idx="15">
                  <c:v>16th</c:v>
                </c:pt>
                <c:pt idx="16">
                  <c:v>17th</c:v>
                </c:pt>
                <c:pt idx="17">
                  <c:v>18th</c:v>
                </c:pt>
                <c:pt idx="18">
                  <c:v>19th</c:v>
                </c:pt>
                <c:pt idx="19">
                  <c:v>20th+</c:v>
                </c:pt>
              </c:strCache>
            </c:strRef>
          </c:cat>
          <c:val>
            <c:numRef>
              <c:f>Sheet1!$B$2:$B$21</c:f>
              <c:numCache>
                <c:formatCode>General</c:formatCode>
                <c:ptCount val="20"/>
                <c:pt idx="0">
                  <c:v>100</c:v>
                </c:pt>
                <c:pt idx="1">
                  <c:v>90</c:v>
                </c:pt>
                <c:pt idx="2">
                  <c:v>80</c:v>
                </c:pt>
                <c:pt idx="3">
                  <c:v>70</c:v>
                </c:pt>
                <c:pt idx="4">
                  <c:v>60</c:v>
                </c:pt>
                <c:pt idx="5">
                  <c:v>50</c:v>
                </c:pt>
                <c:pt idx="6">
                  <c:v>40</c:v>
                </c:pt>
                <c:pt idx="7">
                  <c:v>30</c:v>
                </c:pt>
                <c:pt idx="8">
                  <c:v>20</c:v>
                </c:pt>
                <c:pt idx="9">
                  <c:v>10</c:v>
                </c:pt>
                <c:pt idx="10">
                  <c:v>9</c:v>
                </c:pt>
                <c:pt idx="11">
                  <c:v>8</c:v>
                </c:pt>
                <c:pt idx="12">
                  <c:v>7</c:v>
                </c:pt>
                <c:pt idx="13">
                  <c:v>6</c:v>
                </c:pt>
                <c:pt idx="14">
                  <c:v>5</c:v>
                </c:pt>
                <c:pt idx="15">
                  <c:v>4</c:v>
                </c:pt>
                <c:pt idx="16">
                  <c:v>3</c:v>
                </c:pt>
                <c:pt idx="17">
                  <c:v>2</c:v>
                </c:pt>
                <c:pt idx="18">
                  <c:v>1</c:v>
                </c:pt>
                <c:pt idx="19">
                  <c:v>0</c:v>
                </c:pt>
              </c:numCache>
            </c:numRef>
          </c:val>
          <c:extLst>
            <c:ext xmlns:c16="http://schemas.microsoft.com/office/drawing/2014/chart" uri="{C3380CC4-5D6E-409C-BE32-E72D297353CC}">
              <c16:uniqueId val="{00000000-2C3D-4C77-B727-1E656CCE737F}"/>
            </c:ext>
          </c:extLst>
        </c:ser>
        <c:dLbls>
          <c:showLegendKey val="0"/>
          <c:showVal val="0"/>
          <c:showCatName val="0"/>
          <c:showSerName val="0"/>
          <c:showPercent val="0"/>
          <c:showBubbleSize val="0"/>
        </c:dLbls>
        <c:gapWidth val="70"/>
        <c:axId val="1381845360"/>
        <c:axId val="1381835848"/>
      </c:barChart>
      <c:catAx>
        <c:axId val="13818453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alpha val="80000"/>
                  </a:schemeClr>
                </a:solidFill>
                <a:latin typeface="+mn-lt"/>
                <a:ea typeface="+mn-ea"/>
                <a:cs typeface="+mn-cs"/>
              </a:defRPr>
            </a:pPr>
            <a:endParaRPr lang="en-US"/>
          </a:p>
        </c:txPr>
        <c:crossAx val="1381835848"/>
        <c:crosses val="autoZero"/>
        <c:auto val="1"/>
        <c:lblAlgn val="ctr"/>
        <c:lblOffset val="100"/>
        <c:noMultiLvlLbl val="0"/>
      </c:catAx>
      <c:valAx>
        <c:axId val="1381835848"/>
        <c:scaling>
          <c:orientation val="minMax"/>
          <c:max val="110"/>
          <c:min val="0"/>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alpha val="80000"/>
                  </a:schemeClr>
                </a:solidFill>
                <a:latin typeface="+mn-lt"/>
                <a:ea typeface="+mn-ea"/>
                <a:cs typeface="+mn-cs"/>
              </a:defRPr>
            </a:pPr>
            <a:endParaRPr lang="en-US"/>
          </a:p>
        </c:txPr>
        <c:crossAx val="1381845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solidFill>
            <a:srgbClr val="29BA74"/>
          </a:solidFill>
        </a14:hiddenFill>
      </a:ext>
    </a:ex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ound 1</cx:pt>
          <cx:pt idx="1">Round 2</cx:pt>
          <cx:pt idx="2">Round 3</cx:pt>
          <cx:pt idx="3">Round 4</cx:pt>
          <cx:pt idx="4">Round 5</cx:pt>
          <cx:pt idx="5">Round 6</cx:pt>
        </cx:lvl>
      </cx:strDim>
      <cx:numDim type="val">
        <cx:f>Sheet1!$B$2:$B$8</cx:f>
        <cx:lvl ptCount="7" formatCode="General">
          <cx:pt idx="0">-10</cx:pt>
          <cx:pt idx="1">-12</cx:pt>
          <cx:pt idx="2">-8</cx:pt>
          <cx:pt idx="3">-3</cx:pt>
          <cx:pt idx="4">-2</cx:pt>
          <cx:pt idx="5">-1</cx:pt>
          <cx:pt idx="6">-36</cx:pt>
        </cx:lvl>
      </cx:numDim>
    </cx:data>
  </cx:chartData>
  <cx:chart>
    <cx:plotArea>
      <cx:plotAreaRegion>
        <cx:series layoutId="waterfall" uniqueId="{CF201BEE-4CF8-40A4-B7B2-1C7A37BACD7C}">
          <cx:tx>
            <cx:txData>
              <cx:f>Sheet1!$B$1</cx:f>
              <cx:v>Series1</cx:v>
            </cx:txData>
          </cx:tx>
          <cx:dataLabels pos="outEnd">
            <cx:numFmt formatCode="#,##0_);#,##0" sourceLinked="0"/>
            <cx:txPr>
              <a:bodyPr vertOverflow="overflow" horzOverflow="overflow" wrap="square" lIns="0" tIns="0" rIns="0" bIns="0"/>
              <a:lstStyle/>
              <a:p>
                <a:pPr algn="ctr" rtl="0">
                  <a:defRPr sz="2000" b="1" i="0">
                    <a:solidFill>
                      <a:srgbClr val="929292"/>
                    </a:solidFill>
                    <a:latin typeface="Trebuchet MS" panose="020B0603020202020204" pitchFamily="34" charset="0"/>
                    <a:ea typeface="Trebuchet MS" panose="020B0603020202020204" pitchFamily="34" charset="0"/>
                    <a:cs typeface="Trebuchet MS" panose="020B0603020202020204" pitchFamily="34" charset="0"/>
                  </a:defRPr>
                </a:pPr>
                <a:endParaRPr lang="en-US" sz="2000" b="1"/>
              </a:p>
            </cx:txPr>
            <cx:visibility seriesName="0" categoryName="0" value="1"/>
            <cx:separator>, </cx:separator>
            <cx:dataLabel idx="0">
              <cx:visibility seriesName="0" categoryName="0" value="1"/>
              <cx:separator>, </cx:separator>
            </cx:dataLabel>
          </cx:dataLabels>
          <cx:dataId val="0"/>
          <cx:layoutPr>
            <cx:subtotals>
              <cx:idx val="6"/>
              <cx:idx val="7"/>
            </cx:subtotals>
          </cx:layoutPr>
        </cx:series>
      </cx:plotAreaRegion>
      <cx:axis id="0">
        <cx:catScaling gapWidth="0.439999998"/>
        <cx:tickLabels/>
        <cx:txPr>
          <a:bodyPr vertOverflow="overflow" horzOverflow="overflow" wrap="square" lIns="0" tIns="0" rIns="0" bIns="0"/>
          <a:lstStyle/>
          <a:p>
            <a:pPr algn="ctr" rtl="0">
              <a:defRPr sz="1600" b="0" i="0">
                <a:solidFill>
                  <a:srgbClr val="929292"/>
                </a:solidFill>
                <a:latin typeface="Trebuchet MS" panose="020B0603020202020204" pitchFamily="34" charset="0"/>
                <a:ea typeface="Trebuchet MS" panose="020B0603020202020204" pitchFamily="34" charset="0"/>
                <a:cs typeface="Trebuchet MS" panose="020B0603020202020204" pitchFamily="34" charset="0"/>
              </a:defRPr>
            </a:pPr>
            <a:endParaRPr lang="en-US" sz="1600"/>
          </a:p>
        </cx:txPr>
      </cx:axis>
      <cx:axis id="1" hidden="1">
        <cx:valScaling/>
        <cx:majorGridlines/>
        <cx:tickLabels/>
        <cx:txPr>
          <a:bodyPr vertOverflow="overflow" horzOverflow="overflow" wrap="square" lIns="0" tIns="0" rIns="0" bIns="0"/>
          <a:lstStyle/>
          <a:p>
            <a:pPr algn="ctr" rtl="0">
              <a:defRPr sz="1600" b="0" i="0">
                <a:solidFill>
                  <a:srgbClr val="929292"/>
                </a:solidFill>
                <a:latin typeface="Trebuchet MS" panose="020B0603020202020204" pitchFamily="34" charset="0"/>
                <a:ea typeface="Trebuchet MS" panose="020B0603020202020204" pitchFamily="34" charset="0"/>
                <a:cs typeface="Trebuchet MS" panose="020B0603020202020204" pitchFamily="34" charset="0"/>
              </a:defRPr>
            </a:pPr>
            <a:endParaRPr lang="en-US" sz="1600"/>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2/5/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2/5/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4924636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36606125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23008074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37077184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2300807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875896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41211170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24506076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14924636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4247342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4247342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4741042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22904471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22566681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3</a:t>
            </a:fld>
            <a:endParaRPr lang="en-US" dirty="0"/>
          </a:p>
        </p:txBody>
      </p:sp>
    </p:spTree>
    <p:extLst>
      <p:ext uri="{BB962C8B-B14F-4D97-AF65-F5344CB8AC3E}">
        <p14:creationId xmlns:p14="http://schemas.microsoft.com/office/powerpoint/2010/main" val="7566013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24506076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989030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527792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875896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1811212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1296122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35841257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8301909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hidden="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hidden="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4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5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1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hidden="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6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hidden="1"/>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3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7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2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7"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3.xml"/><Relationship Id="rId7" Type="http://schemas.openxmlformats.org/officeDocument/2006/relationships/oleObject" Target="../embeddings/oleObject19.bin"/><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notesSlide" Target="../notesSlides/notesSlide1.xml"/><Relationship Id="rId5" Type="http://schemas.openxmlformats.org/officeDocument/2006/relationships/slideLayout" Target="../slideLayouts/slideLayout10.xml"/><Relationship Id="rId4" Type="http://schemas.openxmlformats.org/officeDocument/2006/relationships/tags" Target="../tags/tag34.xml"/><Relationship Id="rId9" Type="http://schemas.openxmlformats.org/officeDocument/2006/relationships/image" Target="../media/image11.jpg"/></Relationships>
</file>

<file path=ppt/slides/_rels/slide10.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image" Target="../media/image10.emf"/><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oleObject" Target="../embeddings/oleObject28.bin"/><Relationship Id="rId2" Type="http://schemas.openxmlformats.org/officeDocument/2006/relationships/tags" Target="../tags/tag80.xml"/><Relationship Id="rId1" Type="http://schemas.openxmlformats.org/officeDocument/2006/relationships/vmlDrawing" Target="../drawings/vmlDrawing28.vml"/><Relationship Id="rId6" Type="http://schemas.openxmlformats.org/officeDocument/2006/relationships/tags" Target="../tags/tag84.xml"/><Relationship Id="rId11" Type="http://schemas.openxmlformats.org/officeDocument/2006/relationships/notesSlide" Target="../notesSlides/notesSlide9.xml"/><Relationship Id="rId5" Type="http://schemas.openxmlformats.org/officeDocument/2006/relationships/tags" Target="../tags/tag83.xml"/><Relationship Id="rId10" Type="http://schemas.openxmlformats.org/officeDocument/2006/relationships/slideLayout" Target="../slideLayouts/slideLayout2.xml"/><Relationship Id="rId4" Type="http://schemas.openxmlformats.org/officeDocument/2006/relationships/tags" Target="../tags/tag82.xml"/><Relationship Id="rId9" Type="http://schemas.openxmlformats.org/officeDocument/2006/relationships/tags" Target="../tags/tag87.xml"/></Relationships>
</file>

<file path=ppt/slides/_rels/slide1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89.xml"/><Relationship Id="rId7" Type="http://schemas.openxmlformats.org/officeDocument/2006/relationships/oleObject" Target="../embeddings/oleObject29.bin"/><Relationship Id="rId2" Type="http://schemas.openxmlformats.org/officeDocument/2006/relationships/tags" Target="../tags/tag88.xml"/><Relationship Id="rId1" Type="http://schemas.openxmlformats.org/officeDocument/2006/relationships/vmlDrawing" Target="../drawings/vmlDrawing29.v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90.xml"/></Relationships>
</file>

<file path=ppt/slides/_rels/slide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2.xml"/><Relationship Id="rId7" Type="http://schemas.openxmlformats.org/officeDocument/2006/relationships/oleObject" Target="../embeddings/oleObject30.bin"/><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notesSlide" Target="../notesSlides/notesSlide11.xml"/><Relationship Id="rId5" Type="http://schemas.openxmlformats.org/officeDocument/2006/relationships/slideLayout" Target="../slideLayouts/slideLayout13.xml"/><Relationship Id="rId4" Type="http://schemas.openxmlformats.org/officeDocument/2006/relationships/tags" Target="../tags/tag93.xml"/><Relationship Id="rId9" Type="http://schemas.openxmlformats.org/officeDocument/2006/relationships/chart" Target="../charts/chart1.xml"/></Relationships>
</file>

<file path=ppt/slides/_rels/slide1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5.xml"/><Relationship Id="rId7" Type="http://schemas.openxmlformats.org/officeDocument/2006/relationships/oleObject" Target="../embeddings/oleObject31.bin"/><Relationship Id="rId2" Type="http://schemas.openxmlformats.org/officeDocument/2006/relationships/tags" Target="../tags/tag94.xml"/><Relationship Id="rId1" Type="http://schemas.openxmlformats.org/officeDocument/2006/relationships/vmlDrawing" Target="../drawings/vmlDrawing31.vml"/><Relationship Id="rId6" Type="http://schemas.openxmlformats.org/officeDocument/2006/relationships/notesSlide" Target="../notesSlides/notesSlide12.xml"/><Relationship Id="rId5" Type="http://schemas.openxmlformats.org/officeDocument/2006/relationships/slideLayout" Target="../slideLayouts/slideLayout15.xml"/><Relationship Id="rId4" Type="http://schemas.openxmlformats.org/officeDocument/2006/relationships/tags" Target="../tags/tag96.xml"/></Relationships>
</file>

<file path=ppt/slides/_rels/slide1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8.xml"/><Relationship Id="rId7" Type="http://schemas.openxmlformats.org/officeDocument/2006/relationships/oleObject" Target="../embeddings/oleObject32.bin"/><Relationship Id="rId2" Type="http://schemas.openxmlformats.org/officeDocument/2006/relationships/tags" Target="../tags/tag97.xml"/><Relationship Id="rId1" Type="http://schemas.openxmlformats.org/officeDocument/2006/relationships/vmlDrawing" Target="../drawings/vmlDrawing32.vml"/><Relationship Id="rId6" Type="http://schemas.openxmlformats.org/officeDocument/2006/relationships/notesSlide" Target="../notesSlides/notesSlide13.xml"/><Relationship Id="rId5" Type="http://schemas.openxmlformats.org/officeDocument/2006/relationships/slideLayout" Target="../slideLayouts/slideLayout9.xml"/><Relationship Id="rId4" Type="http://schemas.openxmlformats.org/officeDocument/2006/relationships/tags" Target="../tags/tag9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4.xml"/><Relationship Id="rId1" Type="http://schemas.openxmlformats.org/officeDocument/2006/relationships/tags" Target="../tags/tag100.xml"/></Relationships>
</file>

<file path=ppt/slides/_rels/slide16.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33.v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04.xml"/><Relationship Id="rId7" Type="http://schemas.openxmlformats.org/officeDocument/2006/relationships/oleObject" Target="../embeddings/oleObject34.bin"/><Relationship Id="rId2" Type="http://schemas.openxmlformats.org/officeDocument/2006/relationships/tags" Target="../tags/tag103.xml"/><Relationship Id="rId1" Type="http://schemas.openxmlformats.org/officeDocument/2006/relationships/vmlDrawing" Target="../drawings/vmlDrawing34.vml"/><Relationship Id="rId6" Type="http://schemas.openxmlformats.org/officeDocument/2006/relationships/notesSlide" Target="../notesSlides/notesSlide15.xml"/><Relationship Id="rId5" Type="http://schemas.openxmlformats.org/officeDocument/2006/relationships/slideLayout" Target="../slideLayouts/slideLayout2.xml"/><Relationship Id="rId10" Type="http://schemas.openxmlformats.org/officeDocument/2006/relationships/image" Target="../media/image13.png"/><Relationship Id="rId4" Type="http://schemas.openxmlformats.org/officeDocument/2006/relationships/tags" Target="../tags/tag105.xml"/><Relationship Id="rId9" Type="http://schemas.microsoft.com/office/2014/relationships/chartEx" Target="../charts/chartEx1.xml"/></Relationships>
</file>

<file path=ppt/slides/_rels/slide1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07.xml"/><Relationship Id="rId7" Type="http://schemas.openxmlformats.org/officeDocument/2006/relationships/oleObject" Target="../embeddings/oleObject35.bin"/><Relationship Id="rId2" Type="http://schemas.openxmlformats.org/officeDocument/2006/relationships/tags" Target="../tags/tag106.xml"/><Relationship Id="rId1" Type="http://schemas.openxmlformats.org/officeDocument/2006/relationships/vmlDrawing" Target="../drawings/vmlDrawing35.v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108.xml"/></Relationships>
</file>

<file path=ppt/slides/_rels/slide1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10.xml"/><Relationship Id="rId7" Type="http://schemas.openxmlformats.org/officeDocument/2006/relationships/oleObject" Target="../embeddings/oleObject36.bin"/><Relationship Id="rId2" Type="http://schemas.openxmlformats.org/officeDocument/2006/relationships/tags" Target="../tags/tag109.xml"/><Relationship Id="rId1" Type="http://schemas.openxmlformats.org/officeDocument/2006/relationships/vmlDrawing" Target="../drawings/vmlDrawing36.vml"/><Relationship Id="rId6" Type="http://schemas.openxmlformats.org/officeDocument/2006/relationships/notesSlide" Target="../notesSlides/notesSlide17.xml"/><Relationship Id="rId5" Type="http://schemas.openxmlformats.org/officeDocument/2006/relationships/slideLayout" Target="../slideLayouts/slideLayout10.xml"/><Relationship Id="rId4" Type="http://schemas.openxmlformats.org/officeDocument/2006/relationships/tags" Target="../tags/tag111.xml"/><Relationship Id="rId9" Type="http://schemas.openxmlformats.org/officeDocument/2006/relationships/image" Target="../media/image14.jpg"/></Relationships>
</file>

<file path=ppt/slides/_rels/slide2.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13.xml"/><Relationship Id="rId7" Type="http://schemas.openxmlformats.org/officeDocument/2006/relationships/oleObject" Target="../embeddings/oleObject37.bin"/><Relationship Id="rId2" Type="http://schemas.openxmlformats.org/officeDocument/2006/relationships/tags" Target="../tags/tag112.xml"/><Relationship Id="rId1" Type="http://schemas.openxmlformats.org/officeDocument/2006/relationships/vmlDrawing" Target="../drawings/vmlDrawing37.vml"/><Relationship Id="rId6" Type="http://schemas.openxmlformats.org/officeDocument/2006/relationships/notesSlide" Target="../notesSlides/notesSlide18.xml"/><Relationship Id="rId5" Type="http://schemas.openxmlformats.org/officeDocument/2006/relationships/slideLayout" Target="../slideLayouts/slideLayout2.xml"/><Relationship Id="rId4" Type="http://schemas.openxmlformats.org/officeDocument/2006/relationships/tags" Target="../tags/tag114.xml"/></Relationships>
</file>

<file path=ppt/slides/_rels/slide2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16.xml"/><Relationship Id="rId7" Type="http://schemas.openxmlformats.org/officeDocument/2006/relationships/oleObject" Target="../embeddings/oleObject38.bin"/><Relationship Id="rId2" Type="http://schemas.openxmlformats.org/officeDocument/2006/relationships/tags" Target="../tags/tag115.xml"/><Relationship Id="rId1" Type="http://schemas.openxmlformats.org/officeDocument/2006/relationships/vmlDrawing" Target="../drawings/vmlDrawing38.vml"/><Relationship Id="rId6" Type="http://schemas.openxmlformats.org/officeDocument/2006/relationships/notesSlide" Target="../notesSlides/notesSlide19.xml"/><Relationship Id="rId5" Type="http://schemas.openxmlformats.org/officeDocument/2006/relationships/slideLayout" Target="../slideLayouts/slideLayout2.xml"/><Relationship Id="rId4" Type="http://schemas.openxmlformats.org/officeDocument/2006/relationships/tags" Target="../tags/tag117.xml"/></Relationships>
</file>

<file path=ppt/slides/_rels/slide2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19.xml"/><Relationship Id="rId7" Type="http://schemas.openxmlformats.org/officeDocument/2006/relationships/oleObject" Target="../embeddings/oleObject39.bin"/><Relationship Id="rId2" Type="http://schemas.openxmlformats.org/officeDocument/2006/relationships/tags" Target="../tags/tag118.xml"/><Relationship Id="rId1" Type="http://schemas.openxmlformats.org/officeDocument/2006/relationships/vmlDrawing" Target="../drawings/vmlDrawing39.vml"/><Relationship Id="rId6" Type="http://schemas.openxmlformats.org/officeDocument/2006/relationships/notesSlide" Target="../notesSlides/notesSlide20.xml"/><Relationship Id="rId5" Type="http://schemas.openxmlformats.org/officeDocument/2006/relationships/slideLayout" Target="../slideLayouts/slideLayout2.xml"/><Relationship Id="rId4" Type="http://schemas.openxmlformats.org/officeDocument/2006/relationships/tags" Target="../tags/tag120.xml"/></Relationships>
</file>

<file path=ppt/slides/_rels/slide2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22.xml"/><Relationship Id="rId7" Type="http://schemas.openxmlformats.org/officeDocument/2006/relationships/oleObject" Target="../embeddings/oleObject40.bin"/><Relationship Id="rId2" Type="http://schemas.openxmlformats.org/officeDocument/2006/relationships/tags" Target="../tags/tag121.xml"/><Relationship Id="rId1" Type="http://schemas.openxmlformats.org/officeDocument/2006/relationships/vmlDrawing" Target="../drawings/vmlDrawing40.vml"/><Relationship Id="rId6" Type="http://schemas.openxmlformats.org/officeDocument/2006/relationships/notesSlide" Target="../notesSlides/notesSlide21.xml"/><Relationship Id="rId5" Type="http://schemas.openxmlformats.org/officeDocument/2006/relationships/slideLayout" Target="../slideLayouts/slideLayout2.xml"/><Relationship Id="rId4" Type="http://schemas.openxmlformats.org/officeDocument/2006/relationships/tags" Target="../tags/tag123.xml"/></Relationships>
</file>

<file path=ppt/slides/_rels/slide24.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10.emf"/><Relationship Id="rId2" Type="http://schemas.openxmlformats.org/officeDocument/2006/relationships/tags" Target="../tags/tag124.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22.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27.xml"/><Relationship Id="rId7" Type="http://schemas.openxmlformats.org/officeDocument/2006/relationships/oleObject" Target="../embeddings/oleObject42.bin"/><Relationship Id="rId2" Type="http://schemas.openxmlformats.org/officeDocument/2006/relationships/tags" Target="../tags/tag126.xml"/><Relationship Id="rId1" Type="http://schemas.openxmlformats.org/officeDocument/2006/relationships/vmlDrawing" Target="../drawings/vmlDrawing42.vml"/><Relationship Id="rId6" Type="http://schemas.openxmlformats.org/officeDocument/2006/relationships/notesSlide" Target="../notesSlides/notesSlide23.xml"/><Relationship Id="rId5" Type="http://schemas.openxmlformats.org/officeDocument/2006/relationships/slideLayout" Target="../slideLayouts/slideLayout2.xml"/><Relationship Id="rId4" Type="http://schemas.openxmlformats.org/officeDocument/2006/relationships/tags" Target="../tags/tag128.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8.xml"/><Relationship Id="rId7"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12.emf"/><Relationship Id="rId4" Type="http://schemas.openxmlformats.org/officeDocument/2006/relationships/tags" Target="../tags/tag39.xml"/><Relationship Id="rId9"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3.xml"/><Relationship Id="rId7" Type="http://schemas.openxmlformats.org/officeDocument/2006/relationships/oleObject" Target="../embeddings/oleObject22.bin"/><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notesSlide" Target="../notesSlides/notesSlide3.xml"/><Relationship Id="rId5" Type="http://schemas.openxmlformats.org/officeDocument/2006/relationships/slideLayout" Target="../slideLayouts/slideLayout11.xml"/><Relationship Id="rId4" Type="http://schemas.openxmlformats.org/officeDocument/2006/relationships/tags" Target="../tags/tag44.xml"/><Relationship Id="rId9" Type="http://schemas.openxmlformats.org/officeDocument/2006/relationships/image" Target="../media/image13.jpg"/></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6.xml"/><Relationship Id="rId7" Type="http://schemas.openxmlformats.org/officeDocument/2006/relationships/oleObject" Target="../embeddings/oleObject23.bin"/><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notesSlide" Target="../notesSlides/notesSlide4.xml"/><Relationship Id="rId5" Type="http://schemas.openxmlformats.org/officeDocument/2006/relationships/slideLayout" Target="../slideLayouts/slideLayout4.xml"/><Relationship Id="rId4" Type="http://schemas.openxmlformats.org/officeDocument/2006/relationships/tags" Target="../tags/tag47.xml"/></Relationships>
</file>

<file path=ppt/slides/_rels/slide6.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image" Target="../media/image10.emf"/><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oleObject" Target="../embeddings/oleObject24.bin"/><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tags" Target="../tags/tag52.xml"/><Relationship Id="rId11" Type="http://schemas.openxmlformats.org/officeDocument/2006/relationships/notesSlide" Target="../notesSlides/notesSlide5.xml"/><Relationship Id="rId5" Type="http://schemas.openxmlformats.org/officeDocument/2006/relationships/tags" Target="../tags/tag51.xml"/><Relationship Id="rId10" Type="http://schemas.openxmlformats.org/officeDocument/2006/relationships/slideLayout" Target="../slideLayouts/slideLayout2.xml"/><Relationship Id="rId4" Type="http://schemas.openxmlformats.org/officeDocument/2006/relationships/tags" Target="../tags/tag50.xml"/><Relationship Id="rId9" Type="http://schemas.openxmlformats.org/officeDocument/2006/relationships/tags" Target="../tags/tag55.xml"/></Relationships>
</file>

<file path=ppt/slides/_rels/slide7.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10.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25.bin"/><Relationship Id="rId2" Type="http://schemas.openxmlformats.org/officeDocument/2006/relationships/tags" Target="../tags/tag56.xml"/><Relationship Id="rId1" Type="http://schemas.openxmlformats.org/officeDocument/2006/relationships/vmlDrawing" Target="../drawings/vmlDrawing25.vml"/><Relationship Id="rId6" Type="http://schemas.openxmlformats.org/officeDocument/2006/relationships/tags" Target="../tags/tag60.xml"/><Relationship Id="rId11" Type="http://schemas.openxmlformats.org/officeDocument/2006/relationships/notesSlide" Target="../notesSlides/notesSlide6.xml"/><Relationship Id="rId5" Type="http://schemas.openxmlformats.org/officeDocument/2006/relationships/tags" Target="../tags/tag59.xml"/><Relationship Id="rId10" Type="http://schemas.openxmlformats.org/officeDocument/2006/relationships/slideLayout" Target="../slideLayouts/slideLayout2.xml"/><Relationship Id="rId4" Type="http://schemas.openxmlformats.org/officeDocument/2006/relationships/tags" Target="../tags/tag58.xml"/><Relationship Id="rId9" Type="http://schemas.openxmlformats.org/officeDocument/2006/relationships/tags" Target="../tags/tag63.xml"/></Relationships>
</file>

<file path=ppt/slides/_rels/slide8.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image" Target="../media/image10.emf"/><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oleObject" Target="../embeddings/oleObject26.bin"/><Relationship Id="rId2" Type="http://schemas.openxmlformats.org/officeDocument/2006/relationships/tags" Target="../tags/tag64.xml"/><Relationship Id="rId1" Type="http://schemas.openxmlformats.org/officeDocument/2006/relationships/vmlDrawing" Target="../drawings/vmlDrawing26.vml"/><Relationship Id="rId6" Type="http://schemas.openxmlformats.org/officeDocument/2006/relationships/tags" Target="../tags/tag68.xml"/><Relationship Id="rId11" Type="http://schemas.openxmlformats.org/officeDocument/2006/relationships/notesSlide" Target="../notesSlides/notesSlide7.xml"/><Relationship Id="rId5" Type="http://schemas.openxmlformats.org/officeDocument/2006/relationships/tags" Target="../tags/tag67.xml"/><Relationship Id="rId10" Type="http://schemas.openxmlformats.org/officeDocument/2006/relationships/slideLayout" Target="../slideLayouts/slideLayout2.xml"/><Relationship Id="rId4" Type="http://schemas.openxmlformats.org/officeDocument/2006/relationships/tags" Target="../tags/tag66.xml"/><Relationship Id="rId9" Type="http://schemas.openxmlformats.org/officeDocument/2006/relationships/tags" Target="../tags/tag71.xml"/></Relationships>
</file>

<file path=ppt/slides/_rels/slide9.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image" Target="../media/image10.emf"/><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oleObject" Target="../embeddings/oleObject27.bin"/><Relationship Id="rId2" Type="http://schemas.openxmlformats.org/officeDocument/2006/relationships/tags" Target="../tags/tag72.xml"/><Relationship Id="rId1" Type="http://schemas.openxmlformats.org/officeDocument/2006/relationships/vmlDrawing" Target="../drawings/vmlDrawing27.vml"/><Relationship Id="rId6" Type="http://schemas.openxmlformats.org/officeDocument/2006/relationships/tags" Target="../tags/tag76.xml"/><Relationship Id="rId11" Type="http://schemas.openxmlformats.org/officeDocument/2006/relationships/notesSlide" Target="../notesSlides/notesSlide8.xml"/><Relationship Id="rId5" Type="http://schemas.openxmlformats.org/officeDocument/2006/relationships/tags" Target="../tags/tag75.xml"/><Relationship Id="rId10" Type="http://schemas.openxmlformats.org/officeDocument/2006/relationships/slideLayout" Target="../slideLayouts/slideLayout2.xml"/><Relationship Id="rId4" Type="http://schemas.openxmlformats.org/officeDocument/2006/relationships/tags" Target="../tags/tag74.xml"/><Relationship Id="rId9" Type="http://schemas.openxmlformats.org/officeDocument/2006/relationships/tags" Target="../tags/tag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C28302C-A231-4001-A828-CE1AD4C905A9}"/>
              </a:ext>
            </a:extLst>
          </p:cNvPr>
          <p:cNvGraphicFramePr>
            <a:graphicFrameLocks noChangeAspect="1"/>
          </p:cNvGraphicFramePr>
          <p:nvPr>
            <p:custDataLst>
              <p:tags r:id="rId3"/>
            </p:custDataLst>
            <p:extLst>
              <p:ext uri="{D42A27DB-BD31-4B8C-83A1-F6EECF244321}">
                <p14:modId xmlns:p14="http://schemas.microsoft.com/office/powerpoint/2010/main" val="67784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6"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B032A59-6736-43EB-8021-DE231C2FCD89}"/>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3" name="Picture Placeholder 2">
            <a:extLst>
              <a:ext uri="{FF2B5EF4-FFF2-40B4-BE49-F238E27FC236}">
                <a16:creationId xmlns:a16="http://schemas.microsoft.com/office/drawing/2014/main" id="{87EA1708-1AF4-4B50-9BAF-14D7AFFF5ED4}"/>
              </a:ext>
            </a:extLst>
          </p:cNvPr>
          <p:cNvPicPr>
            <a:picLocks noGrp="1" noChangeAspect="1"/>
          </p:cNvPicPr>
          <p:nvPr>
            <p:ph type="pic" sz="quarter" idx="14"/>
          </p:nvPr>
        </p:nvPicPr>
        <p:blipFill>
          <a:blip r:embed="rId9"/>
          <a:srcRect l="20347" r="20347"/>
          <a:stretch>
            <a:fillRect/>
          </a:stretch>
        </p:blipFill>
        <p:spPr>
          <a:xfrm>
            <a:off x="6096000" y="0"/>
            <a:ext cx="6099977" cy="6858000"/>
          </a:xfrm>
        </p:spPr>
      </p:pic>
      <p:sp>
        <p:nvSpPr>
          <p:cNvPr id="4" name="Title 3"/>
          <p:cNvSpPr>
            <a:spLocks noGrp="1"/>
          </p:cNvSpPr>
          <p:nvPr>
            <p:ph type="title"/>
          </p:nvPr>
        </p:nvSpPr>
        <p:spPr/>
        <p:txBody>
          <a:bodyPr/>
          <a:lstStyle/>
          <a:p>
            <a:r>
              <a:rPr lang="en-US" dirty="0"/>
              <a:t>Committee Parameters and Guidelines</a:t>
            </a:r>
          </a:p>
        </p:txBody>
      </p:sp>
    </p:spTree>
    <p:custDataLst>
      <p:tags r:id="rId2"/>
    </p:custDataLst>
    <p:extLst>
      <p:ext uri="{BB962C8B-B14F-4D97-AF65-F5344CB8AC3E}">
        <p14:creationId xmlns:p14="http://schemas.microsoft.com/office/powerpoint/2010/main" val="3473491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CAD837C-4EAD-4B41-B376-8F9F1035E0B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8" name="think-cell Slide" r:id="rId12" imgW="395" imgH="396" progId="TCLayout.ActiveDocument.1">
                  <p:embed/>
                </p:oleObj>
              </mc:Choice>
              <mc:Fallback>
                <p:oleObj name="think-cell Slide" r:id="rId12" imgW="395" imgH="396" progId="TCLayout.ActiveDocument.1">
                  <p:embed/>
                  <p:pic>
                    <p:nvPicPr>
                      <p:cNvPr id="13" name="Object 12" hidden="1">
                        <a:extLst>
                          <a:ext uri="{FF2B5EF4-FFF2-40B4-BE49-F238E27FC236}">
                            <a16:creationId xmlns:a16="http://schemas.microsoft.com/office/drawing/2014/main" id="{3CAD837C-4EAD-4B41-B376-8F9F1035E0B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F00F5969-6F14-401D-BA85-DAA9FBE165DD}"/>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ee4pHeader1">
            <a:extLst>
              <a:ext uri="{FF2B5EF4-FFF2-40B4-BE49-F238E27FC236}">
                <a16:creationId xmlns:a16="http://schemas.microsoft.com/office/drawing/2014/main" id="{B3300F61-D7CF-49A8-8C58-005B1D2225F7}"/>
              </a:ext>
            </a:extLst>
          </p:cNvPr>
          <p:cNvSpPr>
            <a:spLocks noChangeArrowheads="1"/>
          </p:cNvSpPr>
          <p:nvPr>
            <p:custDataLst>
              <p:tags r:id="rId5"/>
            </p:custDataLst>
          </p:nvPr>
        </p:nvSpPr>
        <p:spPr bwMode="gray">
          <a:xfrm>
            <a:off x="630000" y="2080800"/>
            <a:ext cx="2232000" cy="874800"/>
          </a:xfrm>
          <a:prstGeom prst="homePlate">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Conference Submission              </a:t>
            </a:r>
          </a:p>
        </p:txBody>
      </p:sp>
      <p:sp>
        <p:nvSpPr>
          <p:cNvPr id="3" name="ee4pHeader2">
            <a:extLst>
              <a:ext uri="{FF2B5EF4-FFF2-40B4-BE49-F238E27FC236}">
                <a16:creationId xmlns:a16="http://schemas.microsoft.com/office/drawing/2014/main" id="{71546A3F-06CF-419B-B555-34647C61DE14}"/>
              </a:ext>
            </a:extLst>
          </p:cNvPr>
          <p:cNvSpPr>
            <a:spLocks noChangeArrowheads="1"/>
          </p:cNvSpPr>
          <p:nvPr>
            <p:custDataLst>
              <p:tags r:id="rId6"/>
            </p:custDataLst>
          </p:nvPr>
        </p:nvSpPr>
        <p:spPr bwMode="gray">
          <a:xfrm>
            <a:off x="2877338"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Grading Release</a:t>
            </a:r>
          </a:p>
        </p:txBody>
      </p:sp>
      <p:sp>
        <p:nvSpPr>
          <p:cNvPr id="4" name="ee4pHeader3">
            <a:extLst>
              <a:ext uri="{FF2B5EF4-FFF2-40B4-BE49-F238E27FC236}">
                <a16:creationId xmlns:a16="http://schemas.microsoft.com/office/drawing/2014/main" id="{C562F51F-56F5-4E2F-8699-0287707591F3}"/>
              </a:ext>
            </a:extLst>
          </p:cNvPr>
          <p:cNvSpPr>
            <a:spLocks noChangeArrowheads="1"/>
          </p:cNvSpPr>
          <p:nvPr>
            <p:custDataLst>
              <p:tags r:id="rId7"/>
            </p:custDataLst>
          </p:nvPr>
        </p:nvSpPr>
        <p:spPr bwMode="gray">
          <a:xfrm>
            <a:off x="5124676"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Event Scheduling</a:t>
            </a:r>
          </a:p>
        </p:txBody>
      </p:sp>
      <p:sp>
        <p:nvSpPr>
          <p:cNvPr id="5" name="ee4pHeader4">
            <a:extLst>
              <a:ext uri="{FF2B5EF4-FFF2-40B4-BE49-F238E27FC236}">
                <a16:creationId xmlns:a16="http://schemas.microsoft.com/office/drawing/2014/main" id="{2EDDD957-683B-4988-AAD0-217BE64C03DD}"/>
              </a:ext>
            </a:extLst>
          </p:cNvPr>
          <p:cNvSpPr>
            <a:spLocks noChangeArrowheads="1"/>
          </p:cNvSpPr>
          <p:nvPr>
            <p:custDataLst>
              <p:tags r:id="rId8"/>
            </p:custDataLst>
          </p:nvPr>
        </p:nvSpPr>
        <p:spPr bwMode="gray">
          <a:xfrm>
            <a:off x="7372014"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Points</a:t>
            </a:r>
          </a:p>
          <a:p>
            <a:pPr algn="ctr" eaLnBrk="0" hangingPunct="0"/>
            <a:r>
              <a:rPr lang="en-US" sz="2400" dirty="0">
                <a:solidFill>
                  <a:schemeClr val="bg1"/>
                </a:solidFill>
                <a:sym typeface="Trebuchet MS" panose="020B0603020202020204" pitchFamily="34" charset="0"/>
              </a:rPr>
              <a:t>Earned</a:t>
            </a:r>
          </a:p>
        </p:txBody>
      </p:sp>
      <p:sp>
        <p:nvSpPr>
          <p:cNvPr id="6" name="ee4pHeader5">
            <a:extLst>
              <a:ext uri="{FF2B5EF4-FFF2-40B4-BE49-F238E27FC236}">
                <a16:creationId xmlns:a16="http://schemas.microsoft.com/office/drawing/2014/main" id="{AEE87A08-7A12-45FA-8426-BCF8ACC55CA9}"/>
              </a:ext>
            </a:extLst>
          </p:cNvPr>
          <p:cNvSpPr>
            <a:spLocks noChangeArrowheads="1"/>
          </p:cNvSpPr>
          <p:nvPr>
            <p:custDataLst>
              <p:tags r:id="rId9"/>
            </p:custDataLst>
          </p:nvPr>
        </p:nvSpPr>
        <p:spPr bwMode="gray">
          <a:xfrm>
            <a:off x="9619350"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Year-end Ranking</a:t>
            </a:r>
          </a:p>
        </p:txBody>
      </p:sp>
      <p:sp>
        <p:nvSpPr>
          <p:cNvPr id="7" name="ee4pContent1">
            <a:extLst>
              <a:ext uri="{FF2B5EF4-FFF2-40B4-BE49-F238E27FC236}">
                <a16:creationId xmlns:a16="http://schemas.microsoft.com/office/drawing/2014/main" id="{128A23B4-F59B-4521-83D5-61A5D72372CA}"/>
              </a:ext>
            </a:extLst>
          </p:cNvPr>
          <p:cNvSpPr txBox="1"/>
          <p:nvPr/>
        </p:nvSpPr>
        <p:spPr>
          <a:xfrm>
            <a:off x="630000" y="3247200"/>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solidFill>
                  <a:schemeClr val="tx1">
                    <a:alpha val="35000"/>
                  </a:schemeClr>
                </a:solidFill>
                <a:latin typeface="+mn-lt"/>
              </a:rPr>
              <a:t>Conference submit schedule</a:t>
            </a:r>
          </a:p>
          <a:p>
            <a:endParaRPr lang="en-US" dirty="0">
              <a:solidFill>
                <a:schemeClr val="tx1">
                  <a:alpha val="35000"/>
                </a:schemeClr>
              </a:solidFill>
              <a:latin typeface="+mn-lt"/>
            </a:endParaRPr>
          </a:p>
          <a:p>
            <a:r>
              <a:rPr lang="en-US" dirty="0">
                <a:solidFill>
                  <a:schemeClr val="tx1">
                    <a:alpha val="35000"/>
                  </a:schemeClr>
                </a:solidFill>
                <a:latin typeface="+mn-lt"/>
              </a:rPr>
              <a:t>Recommend grading for events</a:t>
            </a:r>
          </a:p>
        </p:txBody>
      </p:sp>
      <p:sp>
        <p:nvSpPr>
          <p:cNvPr id="8" name="ee4pContent2">
            <a:extLst>
              <a:ext uri="{FF2B5EF4-FFF2-40B4-BE49-F238E27FC236}">
                <a16:creationId xmlns:a16="http://schemas.microsoft.com/office/drawing/2014/main" id="{F9770E61-593D-46EE-8DE5-634DBAB1D210}"/>
              </a:ext>
            </a:extLst>
          </p:cNvPr>
          <p:cNvSpPr txBox="1"/>
          <p:nvPr/>
        </p:nvSpPr>
        <p:spPr>
          <a:xfrm>
            <a:off x="2877337" y="3247201"/>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solidFill>
                  <a:schemeClr val="tx1">
                    <a:alpha val="35000"/>
                  </a:schemeClr>
                </a:solidFill>
                <a:latin typeface="+mn-lt"/>
              </a:rPr>
              <a:t>Championship committee reviews</a:t>
            </a:r>
          </a:p>
          <a:p>
            <a:endParaRPr lang="en-US" dirty="0">
              <a:solidFill>
                <a:schemeClr val="tx1">
                  <a:alpha val="35000"/>
                </a:schemeClr>
              </a:solidFill>
              <a:latin typeface="+mn-lt"/>
            </a:endParaRPr>
          </a:p>
          <a:p>
            <a:r>
              <a:rPr lang="en-US" dirty="0">
                <a:solidFill>
                  <a:schemeClr val="tx1">
                    <a:alpha val="35000"/>
                  </a:schemeClr>
                </a:solidFill>
                <a:latin typeface="+mn-lt"/>
              </a:rPr>
              <a:t>Releases grading for all events</a:t>
            </a:r>
          </a:p>
        </p:txBody>
      </p:sp>
      <p:sp>
        <p:nvSpPr>
          <p:cNvPr id="9" name="ee4pContent3">
            <a:extLst>
              <a:ext uri="{FF2B5EF4-FFF2-40B4-BE49-F238E27FC236}">
                <a16:creationId xmlns:a16="http://schemas.microsoft.com/office/drawing/2014/main" id="{0C162B21-7A0F-4381-9B5C-7C598E584CCF}"/>
              </a:ext>
            </a:extLst>
          </p:cNvPr>
          <p:cNvSpPr txBox="1"/>
          <p:nvPr/>
        </p:nvSpPr>
        <p:spPr>
          <a:xfrm>
            <a:off x="5124674" y="3247200"/>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solidFill>
                  <a:schemeClr val="tx1">
                    <a:alpha val="35000"/>
                  </a:schemeClr>
                </a:solidFill>
                <a:latin typeface="+mn-lt"/>
              </a:rPr>
              <a:t>Team schedule events</a:t>
            </a:r>
          </a:p>
          <a:p>
            <a:endParaRPr lang="en-US" dirty="0">
              <a:solidFill>
                <a:schemeClr val="tx1">
                  <a:alpha val="35000"/>
                </a:schemeClr>
              </a:solidFill>
              <a:latin typeface="+mn-lt"/>
            </a:endParaRPr>
          </a:p>
          <a:p>
            <a:r>
              <a:rPr lang="en-US" dirty="0">
                <a:solidFill>
                  <a:schemeClr val="tx1">
                    <a:alpha val="35000"/>
                  </a:schemeClr>
                </a:solidFill>
                <a:latin typeface="+mn-lt"/>
              </a:rPr>
              <a:t>Full knowledge of ranking value</a:t>
            </a:r>
          </a:p>
        </p:txBody>
      </p:sp>
      <p:sp>
        <p:nvSpPr>
          <p:cNvPr id="10" name="ee4pContent4">
            <a:extLst>
              <a:ext uri="{FF2B5EF4-FFF2-40B4-BE49-F238E27FC236}">
                <a16:creationId xmlns:a16="http://schemas.microsoft.com/office/drawing/2014/main" id="{87DA66D4-E4A3-4D75-A2D3-37BDD298F9EA}"/>
              </a:ext>
            </a:extLst>
          </p:cNvPr>
          <p:cNvSpPr txBox="1"/>
          <p:nvPr/>
        </p:nvSpPr>
        <p:spPr>
          <a:xfrm>
            <a:off x="7372011" y="3247200"/>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solidFill>
                  <a:schemeClr val="tx1">
                    <a:alpha val="35000"/>
                  </a:schemeClr>
                </a:solidFill>
                <a:latin typeface="+mn-lt"/>
              </a:rPr>
              <a:t>Points awarded for each event</a:t>
            </a:r>
          </a:p>
          <a:p>
            <a:endParaRPr lang="en-US" dirty="0">
              <a:solidFill>
                <a:schemeClr val="tx1">
                  <a:alpha val="35000"/>
                </a:schemeClr>
              </a:solidFill>
              <a:latin typeface="+mn-lt"/>
            </a:endParaRPr>
          </a:p>
          <a:p>
            <a:r>
              <a:rPr lang="en-US" dirty="0">
                <a:solidFill>
                  <a:schemeClr val="tx1">
                    <a:alpha val="35000"/>
                  </a:schemeClr>
                </a:solidFill>
                <a:latin typeface="+mn-lt"/>
              </a:rPr>
              <a:t>Based on finishing place and event grade</a:t>
            </a:r>
          </a:p>
        </p:txBody>
      </p:sp>
      <p:sp>
        <p:nvSpPr>
          <p:cNvPr id="11" name="ee4pContent5">
            <a:extLst>
              <a:ext uri="{FF2B5EF4-FFF2-40B4-BE49-F238E27FC236}">
                <a16:creationId xmlns:a16="http://schemas.microsoft.com/office/drawing/2014/main" id="{C0028E95-16E1-4518-B0F0-24FE263ADBE3}"/>
              </a:ext>
            </a:extLst>
          </p:cNvPr>
          <p:cNvSpPr txBox="1"/>
          <p:nvPr/>
        </p:nvSpPr>
        <p:spPr>
          <a:xfrm>
            <a:off x="9619349" y="3247200"/>
            <a:ext cx="2012873"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Top 6 events for each team added</a:t>
            </a:r>
          </a:p>
          <a:p>
            <a:endParaRPr lang="en-US" dirty="0">
              <a:latin typeface="+mn-lt"/>
            </a:endParaRPr>
          </a:p>
          <a:p>
            <a:r>
              <a:rPr lang="en-US" dirty="0">
                <a:latin typeface="+mn-lt"/>
              </a:rPr>
              <a:t>All teams ranked high-low</a:t>
            </a:r>
          </a:p>
        </p:txBody>
      </p:sp>
      <p:sp>
        <p:nvSpPr>
          <p:cNvPr id="12" name="Title 11">
            <a:extLst>
              <a:ext uri="{FF2B5EF4-FFF2-40B4-BE49-F238E27FC236}">
                <a16:creationId xmlns:a16="http://schemas.microsoft.com/office/drawing/2014/main" id="{08296290-F8EE-4524-8CE6-B1D690669BB7}"/>
              </a:ext>
            </a:extLst>
          </p:cNvPr>
          <p:cNvSpPr>
            <a:spLocks noGrp="1"/>
          </p:cNvSpPr>
          <p:nvPr>
            <p:ph type="title"/>
          </p:nvPr>
        </p:nvSpPr>
        <p:spPr/>
        <p:txBody>
          <a:bodyPr/>
          <a:lstStyle/>
          <a:p>
            <a:r>
              <a:rPr lang="en-US" dirty="0"/>
              <a:t>Events are graded to reflect relative difficulty</a:t>
            </a:r>
          </a:p>
        </p:txBody>
      </p:sp>
    </p:spTree>
    <p:custDataLst>
      <p:tags r:id="rId2"/>
    </p:custDataLst>
    <p:extLst>
      <p:ext uri="{BB962C8B-B14F-4D97-AF65-F5344CB8AC3E}">
        <p14:creationId xmlns:p14="http://schemas.microsoft.com/office/powerpoint/2010/main" val="1807686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DD1B0F-5A3E-4CB6-B560-E4AA6ECB5905}"/>
              </a:ext>
            </a:extLst>
          </p:cNvPr>
          <p:cNvGraphicFramePr>
            <a:graphicFrameLocks noChangeAspect="1"/>
          </p:cNvGraphicFramePr>
          <p:nvPr>
            <p:custDataLst>
              <p:tags r:id="rId3"/>
            </p:custDataLst>
            <p:extLst>
              <p:ext uri="{D42A27DB-BD31-4B8C-83A1-F6EECF244321}">
                <p14:modId xmlns:p14="http://schemas.microsoft.com/office/powerpoint/2010/main" val="407785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6"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9CB5263-86FF-4A17-9F4E-23FDE1FFE648}"/>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200" cy="941796"/>
          </a:xfrm>
        </p:spPr>
        <p:txBody>
          <a:bodyPr/>
          <a:lstStyle/>
          <a:p>
            <a:r>
              <a:rPr lang="en-US" dirty="0"/>
              <a:t>Total event score is based on finishing place and competitive level</a:t>
            </a:r>
          </a:p>
        </p:txBody>
      </p:sp>
      <p:grpSp>
        <p:nvGrpSpPr>
          <p:cNvPr id="5" name="Group 4">
            <a:extLst>
              <a:ext uri="{FF2B5EF4-FFF2-40B4-BE49-F238E27FC236}">
                <a16:creationId xmlns:a16="http://schemas.microsoft.com/office/drawing/2014/main" id="{1422BA88-C35D-4D42-BE66-4F59CED9584E}"/>
              </a:ext>
            </a:extLst>
          </p:cNvPr>
          <p:cNvGrpSpPr/>
          <p:nvPr/>
        </p:nvGrpSpPr>
        <p:grpSpPr>
          <a:xfrm>
            <a:off x="1166388" y="3429000"/>
            <a:ext cx="9859223" cy="759600"/>
            <a:chOff x="1008069" y="3429000"/>
            <a:chExt cx="9859223" cy="759600"/>
          </a:xfrm>
        </p:grpSpPr>
        <p:sp>
          <p:nvSpPr>
            <p:cNvPr id="17" name="ee4pHeader1"/>
            <p:cNvSpPr txBox="1"/>
            <p:nvPr/>
          </p:nvSpPr>
          <p:spPr>
            <a:xfrm>
              <a:off x="1008069" y="3429000"/>
              <a:ext cx="2174746" cy="759600"/>
            </a:xfrm>
            <a:prstGeom prst="rect">
              <a:avLst/>
            </a:prstGeom>
            <a:noFill/>
            <a:ln cap="rnd">
              <a:noFill/>
            </a:ln>
          </p:spPr>
          <p:txBody>
            <a:bodyPr wrap="square" lIns="0" tIns="0" rIns="0" bIns="0" rtlCol="0" anchor="b" anchorCtr="0">
              <a:noAutofit/>
            </a:bodyPr>
            <a:lstStyle/>
            <a:p>
              <a:pPr marL="0" lvl="3" algn="ctr"/>
              <a:r>
                <a:rPr lang="en-US" sz="2400" dirty="0">
                  <a:solidFill>
                    <a:srgbClr val="6E6F73"/>
                  </a:solidFill>
                </a:rPr>
                <a:t>Finishing Place in Event</a:t>
              </a:r>
            </a:p>
          </p:txBody>
        </p:sp>
        <p:sp>
          <p:nvSpPr>
            <p:cNvPr id="15" name="ee4pHeader2"/>
            <p:cNvSpPr txBox="1"/>
            <p:nvPr/>
          </p:nvSpPr>
          <p:spPr>
            <a:xfrm>
              <a:off x="4735475" y="3429000"/>
              <a:ext cx="2527193" cy="759600"/>
            </a:xfrm>
            <a:prstGeom prst="rect">
              <a:avLst/>
            </a:prstGeom>
            <a:noFill/>
            <a:ln cap="rnd">
              <a:noFill/>
            </a:ln>
          </p:spPr>
          <p:txBody>
            <a:bodyPr wrap="square" lIns="0" tIns="0" rIns="0" bIns="0" rtlCol="0" anchor="b" anchorCtr="0">
              <a:noAutofit/>
            </a:bodyPr>
            <a:lstStyle/>
            <a:p>
              <a:pPr marL="0" lvl="3" algn="ctr"/>
              <a:r>
                <a:rPr lang="en-US" sz="2400" dirty="0">
                  <a:solidFill>
                    <a:srgbClr val="6E6F73"/>
                  </a:solidFill>
                </a:rPr>
                <a:t>Event Grading Factor</a:t>
              </a:r>
            </a:p>
          </p:txBody>
        </p:sp>
        <p:sp>
          <p:nvSpPr>
            <p:cNvPr id="13" name="ee4pHeader3"/>
            <p:cNvSpPr txBox="1"/>
            <p:nvPr/>
          </p:nvSpPr>
          <p:spPr>
            <a:xfrm>
              <a:off x="8815327" y="3429000"/>
              <a:ext cx="2051965" cy="759600"/>
            </a:xfrm>
            <a:prstGeom prst="rect">
              <a:avLst/>
            </a:prstGeom>
            <a:noFill/>
            <a:ln cap="rnd">
              <a:noFill/>
            </a:ln>
          </p:spPr>
          <p:txBody>
            <a:bodyPr wrap="square" lIns="0" tIns="0" rIns="0" bIns="0" rtlCol="0" anchor="b" anchorCtr="0">
              <a:noAutofit/>
            </a:bodyPr>
            <a:lstStyle/>
            <a:p>
              <a:pPr marL="0" lvl="3" algn="ctr"/>
              <a:r>
                <a:rPr lang="en-US" sz="2800" b="1" dirty="0">
                  <a:solidFill>
                    <a:srgbClr val="29BA74"/>
                  </a:solidFill>
                </a:rPr>
                <a:t>Total Event Score</a:t>
              </a:r>
            </a:p>
          </p:txBody>
        </p:sp>
        <p:grpSp>
          <p:nvGrpSpPr>
            <p:cNvPr id="11" name="Group 10">
              <a:extLst>
                <a:ext uri="{FF2B5EF4-FFF2-40B4-BE49-F238E27FC236}">
                  <a16:creationId xmlns:a16="http://schemas.microsoft.com/office/drawing/2014/main" id="{798C9F3F-E14C-4BA7-9CE4-8F73D4F08444}"/>
                </a:ext>
              </a:extLst>
            </p:cNvPr>
            <p:cNvGrpSpPr>
              <a:grpSpLocks noChangeAspect="1"/>
            </p:cNvGrpSpPr>
            <p:nvPr/>
          </p:nvGrpSpPr>
          <p:grpSpPr>
            <a:xfrm>
              <a:off x="3650154" y="3499809"/>
              <a:ext cx="617982" cy="617982"/>
              <a:chOff x="628650" y="2655888"/>
              <a:chExt cx="269875" cy="269875"/>
            </a:xfrm>
          </p:grpSpPr>
          <p:sp>
            <p:nvSpPr>
              <p:cNvPr id="12" name="Oval 18">
                <a:extLst>
                  <a:ext uri="{FF2B5EF4-FFF2-40B4-BE49-F238E27FC236}">
                    <a16:creationId xmlns:a16="http://schemas.microsoft.com/office/drawing/2014/main" id="{20E77DB4-94BD-4040-94F3-7F0CCDD29C56}"/>
                  </a:ext>
                </a:extLst>
              </p:cNvPr>
              <p:cNvSpPr>
                <a:spLocks noChangeArrowheads="1"/>
              </p:cNvSpPr>
              <p:nvPr/>
            </p:nvSpPr>
            <p:spPr bwMode="auto">
              <a:xfrm>
                <a:off x="628650" y="265588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 name="Freeform 19">
                <a:extLst>
                  <a:ext uri="{FF2B5EF4-FFF2-40B4-BE49-F238E27FC236}">
                    <a16:creationId xmlns:a16="http://schemas.microsoft.com/office/drawing/2014/main" id="{0C9BA052-700F-41AE-B454-E79F1601B0DC}"/>
                  </a:ext>
                </a:extLst>
              </p:cNvPr>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6" name="Group 15">
              <a:extLst>
                <a:ext uri="{FF2B5EF4-FFF2-40B4-BE49-F238E27FC236}">
                  <a16:creationId xmlns:a16="http://schemas.microsoft.com/office/drawing/2014/main" id="{EC12260E-1881-4323-B3A6-A1718CCC87B7}"/>
                </a:ext>
              </a:extLst>
            </p:cNvPr>
            <p:cNvGrpSpPr>
              <a:grpSpLocks noChangeAspect="1"/>
            </p:cNvGrpSpPr>
            <p:nvPr/>
          </p:nvGrpSpPr>
          <p:grpSpPr>
            <a:xfrm>
              <a:off x="7730007" y="3499809"/>
              <a:ext cx="617982" cy="617982"/>
              <a:chOff x="628650" y="1847850"/>
              <a:chExt cx="269875" cy="269875"/>
            </a:xfrm>
          </p:grpSpPr>
          <p:sp>
            <p:nvSpPr>
              <p:cNvPr id="18" name="Oval 8">
                <a:extLst>
                  <a:ext uri="{FF2B5EF4-FFF2-40B4-BE49-F238E27FC236}">
                    <a16:creationId xmlns:a16="http://schemas.microsoft.com/office/drawing/2014/main" id="{894B3C75-221B-4C28-8A53-B666ACD96739}"/>
                  </a:ext>
                </a:extLst>
              </p:cNvPr>
              <p:cNvSpPr>
                <a:spLocks noChangeArrowheads="1"/>
              </p:cNvSpPr>
              <p:nvPr/>
            </p:nvSpPr>
            <p:spPr bwMode="auto">
              <a:xfrm>
                <a:off x="628650"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9">
                <a:extLst>
                  <a:ext uri="{FF2B5EF4-FFF2-40B4-BE49-F238E27FC236}">
                    <a16:creationId xmlns:a16="http://schemas.microsoft.com/office/drawing/2014/main" id="{F9AD971E-2CFF-4A23-86E6-11A0BA738BDB}"/>
                  </a:ext>
                </a:extLst>
              </p:cNvPr>
              <p:cNvSpPr>
                <a:spLocks noEditPoints="1"/>
              </p:cNvSpPr>
              <p:nvPr/>
            </p:nvSpPr>
            <p:spPr bwMode="auto">
              <a:xfrm>
                <a:off x="690562" y="1949450"/>
                <a:ext cx="146050" cy="66675"/>
              </a:xfrm>
              <a:custGeom>
                <a:avLst/>
                <a:gdLst>
                  <a:gd name="T0" fmla="*/ 0 w 92"/>
                  <a:gd name="T1" fmla="*/ 33 h 42"/>
                  <a:gd name="T2" fmla="*/ 92 w 92"/>
                  <a:gd name="T3" fmla="*/ 33 h 42"/>
                  <a:gd name="T4" fmla="*/ 92 w 92"/>
                  <a:gd name="T5" fmla="*/ 42 h 42"/>
                  <a:gd name="T6" fmla="*/ 0 w 92"/>
                  <a:gd name="T7" fmla="*/ 42 h 42"/>
                  <a:gd name="T8" fmla="*/ 0 w 92"/>
                  <a:gd name="T9" fmla="*/ 33 h 42"/>
                  <a:gd name="T10" fmla="*/ 0 w 92"/>
                  <a:gd name="T11" fmla="*/ 9 h 42"/>
                  <a:gd name="T12" fmla="*/ 92 w 92"/>
                  <a:gd name="T13" fmla="*/ 9 h 42"/>
                  <a:gd name="T14" fmla="*/ 92 w 92"/>
                  <a:gd name="T15" fmla="*/ 0 h 42"/>
                  <a:gd name="T16" fmla="*/ 0 w 92"/>
                  <a:gd name="T17" fmla="*/ 0 h 42"/>
                  <a:gd name="T18" fmla="*/ 0 w 9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2">
                    <a:moveTo>
                      <a:pt x="0" y="33"/>
                    </a:moveTo>
                    <a:lnTo>
                      <a:pt x="92" y="33"/>
                    </a:lnTo>
                    <a:lnTo>
                      <a:pt x="92" y="42"/>
                    </a:lnTo>
                    <a:lnTo>
                      <a:pt x="0" y="42"/>
                    </a:lnTo>
                    <a:lnTo>
                      <a:pt x="0" y="33"/>
                    </a:lnTo>
                    <a:close/>
                    <a:moveTo>
                      <a:pt x="0" y="9"/>
                    </a:moveTo>
                    <a:lnTo>
                      <a:pt x="92" y="9"/>
                    </a:lnTo>
                    <a:lnTo>
                      <a:pt x="92" y="0"/>
                    </a:lnTo>
                    <a:lnTo>
                      <a:pt x="0" y="0"/>
                    </a:lnTo>
                    <a:lnTo>
                      <a:pt x="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spTree>
    <p:custDataLst>
      <p:tags r:id="rId2"/>
    </p:custDataLst>
    <p:extLst>
      <p:ext uri="{BB962C8B-B14F-4D97-AF65-F5344CB8AC3E}">
        <p14:creationId xmlns:p14="http://schemas.microsoft.com/office/powerpoint/2010/main" val="463588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44C83DB-0C42-4E04-A8DB-573BC7CB1898}"/>
              </a:ext>
            </a:extLst>
          </p:cNvPr>
          <p:cNvGraphicFramePr>
            <a:graphicFrameLocks noChangeAspect="1"/>
          </p:cNvGraphicFramePr>
          <p:nvPr>
            <p:custDataLst>
              <p:tags r:id="rId3"/>
            </p:custDataLst>
            <p:extLst>
              <p:ext uri="{D42A27DB-BD31-4B8C-83A1-F6EECF244321}">
                <p14:modId xmlns:p14="http://schemas.microsoft.com/office/powerpoint/2010/main" val="2811513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4"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F6C48B0-4244-42EE-967F-C039A70B23D7}"/>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oints scaled by finishing place</a:t>
            </a:r>
          </a:p>
        </p:txBody>
      </p:sp>
      <p:graphicFrame>
        <p:nvGraphicFramePr>
          <p:cNvPr id="9" name="Chart 8">
            <a:extLst>
              <a:ext uri="{FF2B5EF4-FFF2-40B4-BE49-F238E27FC236}">
                <a16:creationId xmlns:a16="http://schemas.microsoft.com/office/drawing/2014/main" id="{D15F0DEC-50E2-4C4A-8EDA-B3D8AD8C4A30}"/>
              </a:ext>
            </a:extLst>
          </p:cNvPr>
          <p:cNvGraphicFramePr/>
          <p:nvPr>
            <p:extLst>
              <p:ext uri="{D42A27DB-BD31-4B8C-83A1-F6EECF244321}">
                <p14:modId xmlns:p14="http://schemas.microsoft.com/office/powerpoint/2010/main" val="4036732251"/>
              </p:ext>
            </p:extLst>
          </p:nvPr>
        </p:nvGraphicFramePr>
        <p:xfrm>
          <a:off x="4261984" y="719666"/>
          <a:ext cx="8013211"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0" name="ee4pFootnotes">
            <a:extLst>
              <a:ext uri="{FF2B5EF4-FFF2-40B4-BE49-F238E27FC236}">
                <a16:creationId xmlns:a16="http://schemas.microsoft.com/office/drawing/2014/main" id="{FC3243AB-0B4C-4036-899A-731E3D877B4E}"/>
              </a:ext>
            </a:extLst>
          </p:cNvPr>
          <p:cNvSpPr>
            <a:spLocks noChangeArrowheads="1"/>
          </p:cNvSpPr>
          <p:nvPr/>
        </p:nvSpPr>
        <p:spPr bwMode="auto">
          <a:xfrm>
            <a:off x="4363095" y="6421441"/>
            <a:ext cx="5297819"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Derived from "Method of Calculating the World Sailing Match Race Rankings"</a:t>
            </a:r>
          </a:p>
        </p:txBody>
      </p:sp>
    </p:spTree>
    <p:custDataLst>
      <p:tags r:id="rId2"/>
    </p:custDataLst>
    <p:extLst>
      <p:ext uri="{BB962C8B-B14F-4D97-AF65-F5344CB8AC3E}">
        <p14:creationId xmlns:p14="http://schemas.microsoft.com/office/powerpoint/2010/main" val="451975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6917B31-F8F9-4F81-AE86-C6A3D43B423F}"/>
              </a:ext>
            </a:extLst>
          </p:cNvPr>
          <p:cNvGraphicFramePr>
            <a:graphicFrameLocks noChangeAspect="1"/>
          </p:cNvGraphicFramePr>
          <p:nvPr>
            <p:custDataLst>
              <p:tags r:id="rId3"/>
            </p:custDataLst>
            <p:extLst>
              <p:ext uri="{D42A27DB-BD31-4B8C-83A1-F6EECF244321}">
                <p14:modId xmlns:p14="http://schemas.microsoft.com/office/powerpoint/2010/main" val="361617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1"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FD0E3C3-566C-46EE-89CC-8E454F5FAD00}"/>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Events are graded by level of competition</a:t>
            </a:r>
          </a:p>
        </p:txBody>
      </p:sp>
      <p:graphicFrame>
        <p:nvGraphicFramePr>
          <p:cNvPr id="8" name="table_type_name">
            <a:extLst>
              <a:ext uri="{FF2B5EF4-FFF2-40B4-BE49-F238E27FC236}">
                <a16:creationId xmlns:a16="http://schemas.microsoft.com/office/drawing/2014/main" id="{20F15994-06A1-4661-905E-3AC4473018BF}"/>
              </a:ext>
            </a:extLst>
          </p:cNvPr>
          <p:cNvGraphicFramePr>
            <a:graphicFrameLocks noGrp="1"/>
          </p:cNvGraphicFramePr>
          <p:nvPr>
            <p:extLst>
              <p:ext uri="{D42A27DB-BD31-4B8C-83A1-F6EECF244321}">
                <p14:modId xmlns:p14="http://schemas.microsoft.com/office/powerpoint/2010/main" val="2518384110"/>
              </p:ext>
            </p:extLst>
          </p:nvPr>
        </p:nvGraphicFramePr>
        <p:xfrm>
          <a:off x="6096000" y="502243"/>
          <a:ext cx="5315469" cy="3584448"/>
        </p:xfrm>
        <a:graphic>
          <a:graphicData uri="http://schemas.openxmlformats.org/drawingml/2006/table">
            <a:tbl>
              <a:tblPr/>
              <a:tblGrid>
                <a:gridCol w="3442892">
                  <a:extLst>
                    <a:ext uri="{9D8B030D-6E8A-4147-A177-3AD203B41FA5}">
                      <a16:colId xmlns:a16="http://schemas.microsoft.com/office/drawing/2014/main" val="20000"/>
                    </a:ext>
                  </a:extLst>
                </a:gridCol>
                <a:gridCol w="1872577">
                  <a:extLst>
                    <a:ext uri="{9D8B030D-6E8A-4147-A177-3AD203B41FA5}">
                      <a16:colId xmlns:a16="http://schemas.microsoft.com/office/drawing/2014/main" val="20001"/>
                    </a:ext>
                  </a:extLst>
                </a:gridCol>
              </a:tblGrid>
              <a:tr h="0">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2400" b="0" i="0" u="none" strike="noStrike" cap="none" normalizeH="0" baseline="0" dirty="0">
                          <a:ln>
                            <a:noFill/>
                          </a:ln>
                          <a:solidFill>
                            <a:schemeClr val="tx2"/>
                          </a:solidFill>
                          <a:effectLst/>
                          <a:latin typeface="+mn-lt"/>
                          <a:cs typeface="Arial" charset="0"/>
                          <a:sym typeface="Trebuchet MS" panose="020B0603020202020204" pitchFamily="34" charset="0"/>
                        </a:rPr>
                        <a:t>Event Grade</a:t>
                      </a:r>
                    </a:p>
                  </a:txBody>
                  <a:tcPr marL="0" marR="73152" marT="73152" marB="73152" anchor="b"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2400" b="0" i="0" u="none" strike="noStrike" cap="none" normalizeH="0" baseline="0" dirty="0">
                          <a:ln>
                            <a:noFill/>
                          </a:ln>
                          <a:solidFill>
                            <a:schemeClr val="tx2"/>
                          </a:solidFill>
                          <a:effectLst/>
                          <a:latin typeface="+mn-lt"/>
                          <a:cs typeface="Arial" charset="0"/>
                          <a:sym typeface="Trebuchet MS" panose="020B0603020202020204" pitchFamily="34" charset="0"/>
                        </a:rPr>
                        <a:t>Point Multiplier</a:t>
                      </a:r>
                    </a:p>
                  </a:txBody>
                  <a:tcPr marL="0" marR="73152" marT="73152" marB="73152" anchor="b"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G0</a:t>
                      </a:r>
                    </a:p>
                  </a:txBody>
                  <a:tcPr marL="0" marR="73152"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8.0x</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G1</a:t>
                      </a:r>
                    </a:p>
                  </a:txBody>
                  <a:tcPr marL="0" marR="73152"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6.5x</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674160"/>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G2</a:t>
                      </a:r>
                    </a:p>
                  </a:txBody>
                  <a:tcPr marL="0" marR="73152"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4.0x</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60773330"/>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G3</a:t>
                      </a:r>
                    </a:p>
                  </a:txBody>
                  <a:tcPr marL="0" marR="73152"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2.5x</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03033424"/>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G4</a:t>
                      </a:r>
                    </a:p>
                  </a:txBody>
                  <a:tcPr marL="0" marR="73152"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1.5x</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0578422"/>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G5</a:t>
                      </a:r>
                    </a:p>
                  </a:txBody>
                  <a:tcPr marL="0" marR="73152"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1.0x</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07641776"/>
                  </a:ext>
                </a:extLst>
              </a:tr>
            </a:tbl>
          </a:graphicData>
        </a:graphic>
      </p:graphicFrame>
      <p:sp>
        <p:nvSpPr>
          <p:cNvPr id="10" name="TextBox 9">
            <a:extLst>
              <a:ext uri="{FF2B5EF4-FFF2-40B4-BE49-F238E27FC236}">
                <a16:creationId xmlns:a16="http://schemas.microsoft.com/office/drawing/2014/main" id="{E6F9F47B-8C24-4C4A-889D-1A00E971213E}"/>
              </a:ext>
            </a:extLst>
          </p:cNvPr>
          <p:cNvSpPr txBox="1"/>
          <p:nvPr/>
        </p:nvSpPr>
        <p:spPr>
          <a:xfrm>
            <a:off x="5588505" y="5665620"/>
            <a:ext cx="1522852" cy="617252"/>
          </a:xfrm>
          <a:prstGeom prst="rect">
            <a:avLst/>
          </a:prstGeom>
          <a:noFill/>
        </p:spPr>
        <p:txBody>
          <a:bodyPr wrap="square" lIns="0" tIns="0" rIns="0" bIns="0" rtlCol="0" anchor="t">
            <a:noAutofit/>
          </a:bodyPr>
          <a:lstStyle/>
          <a:p>
            <a:pPr algn="ctr"/>
            <a:r>
              <a:rPr lang="en-US" dirty="0"/>
              <a:t>Showcase Finals</a:t>
            </a:r>
          </a:p>
        </p:txBody>
      </p:sp>
      <p:sp>
        <p:nvSpPr>
          <p:cNvPr id="11" name="Oval 10">
            <a:extLst>
              <a:ext uri="{FF2B5EF4-FFF2-40B4-BE49-F238E27FC236}">
                <a16:creationId xmlns:a16="http://schemas.microsoft.com/office/drawing/2014/main" id="{5933A576-D984-4D42-B2C1-17D9DEBC2B07}"/>
              </a:ext>
            </a:extLst>
          </p:cNvPr>
          <p:cNvSpPr>
            <a:spLocks noChangeAspect="1"/>
          </p:cNvSpPr>
          <p:nvPr/>
        </p:nvSpPr>
        <p:spPr>
          <a:xfrm>
            <a:off x="5821712" y="4443147"/>
            <a:ext cx="1056438" cy="1056438"/>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en-US" sz="2400" kern="0" dirty="0">
                <a:solidFill>
                  <a:schemeClr val="tx1"/>
                </a:solidFill>
              </a:rPr>
              <a:t>G0</a:t>
            </a:r>
          </a:p>
        </p:txBody>
      </p:sp>
      <p:sp>
        <p:nvSpPr>
          <p:cNvPr id="7" name="TextBox 6">
            <a:extLst>
              <a:ext uri="{FF2B5EF4-FFF2-40B4-BE49-F238E27FC236}">
                <a16:creationId xmlns:a16="http://schemas.microsoft.com/office/drawing/2014/main" id="{D4BBE0FA-839C-4FD0-9E0C-EEEA34E37CF1}"/>
              </a:ext>
            </a:extLst>
          </p:cNvPr>
          <p:cNvSpPr txBox="1"/>
          <p:nvPr/>
        </p:nvSpPr>
        <p:spPr>
          <a:xfrm>
            <a:off x="8017716" y="5665620"/>
            <a:ext cx="1522852" cy="617252"/>
          </a:xfrm>
          <a:prstGeom prst="rect">
            <a:avLst/>
          </a:prstGeom>
          <a:noFill/>
        </p:spPr>
        <p:txBody>
          <a:bodyPr wrap="square" lIns="0" tIns="0" rIns="0" bIns="0" rtlCol="0" anchor="t">
            <a:noAutofit/>
          </a:bodyPr>
          <a:lstStyle/>
          <a:p>
            <a:pPr algn="ctr"/>
            <a:r>
              <a:rPr lang="en-US" dirty="0" err="1"/>
              <a:t>MCSA</a:t>
            </a:r>
            <a:r>
              <a:rPr lang="en-US" dirty="0"/>
              <a:t> Championship</a:t>
            </a:r>
          </a:p>
        </p:txBody>
      </p:sp>
      <p:sp>
        <p:nvSpPr>
          <p:cNvPr id="13" name="Oval 12">
            <a:extLst>
              <a:ext uri="{FF2B5EF4-FFF2-40B4-BE49-F238E27FC236}">
                <a16:creationId xmlns:a16="http://schemas.microsoft.com/office/drawing/2014/main" id="{CF5AFA79-527A-4895-A46C-2933CB07EA0C}"/>
              </a:ext>
            </a:extLst>
          </p:cNvPr>
          <p:cNvSpPr>
            <a:spLocks noChangeAspect="1"/>
          </p:cNvSpPr>
          <p:nvPr/>
        </p:nvSpPr>
        <p:spPr>
          <a:xfrm>
            <a:off x="8250923" y="4443147"/>
            <a:ext cx="1056438" cy="1056438"/>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en-US" sz="2400" kern="0" dirty="0">
                <a:solidFill>
                  <a:schemeClr val="tx1"/>
                </a:solidFill>
              </a:rPr>
              <a:t>G3</a:t>
            </a:r>
          </a:p>
        </p:txBody>
      </p:sp>
      <p:sp>
        <p:nvSpPr>
          <p:cNvPr id="12" name="TextBox 11">
            <a:extLst>
              <a:ext uri="{FF2B5EF4-FFF2-40B4-BE49-F238E27FC236}">
                <a16:creationId xmlns:a16="http://schemas.microsoft.com/office/drawing/2014/main" id="{35B46388-6854-4352-AC7A-7B67E58EBFEA}"/>
              </a:ext>
            </a:extLst>
          </p:cNvPr>
          <p:cNvSpPr txBox="1"/>
          <p:nvPr/>
        </p:nvSpPr>
        <p:spPr>
          <a:xfrm>
            <a:off x="10446928" y="5665620"/>
            <a:ext cx="1522852" cy="617252"/>
          </a:xfrm>
          <a:prstGeom prst="rect">
            <a:avLst/>
          </a:prstGeom>
          <a:noFill/>
        </p:spPr>
        <p:txBody>
          <a:bodyPr wrap="square" lIns="0" tIns="0" rIns="0" bIns="0" rtlCol="0" anchor="t">
            <a:noAutofit/>
          </a:bodyPr>
          <a:lstStyle/>
          <a:p>
            <a:pPr algn="ctr"/>
            <a:r>
              <a:rPr lang="en-US" dirty="0"/>
              <a:t>Fundamental Events</a:t>
            </a:r>
          </a:p>
        </p:txBody>
      </p:sp>
      <p:sp>
        <p:nvSpPr>
          <p:cNvPr id="14" name="Oval 13">
            <a:extLst>
              <a:ext uri="{FF2B5EF4-FFF2-40B4-BE49-F238E27FC236}">
                <a16:creationId xmlns:a16="http://schemas.microsoft.com/office/drawing/2014/main" id="{058E74FA-ED90-4185-8706-CC59CDA7AAD2}"/>
              </a:ext>
            </a:extLst>
          </p:cNvPr>
          <p:cNvSpPr>
            <a:spLocks noChangeAspect="1"/>
          </p:cNvSpPr>
          <p:nvPr/>
        </p:nvSpPr>
        <p:spPr>
          <a:xfrm>
            <a:off x="10680135" y="4443147"/>
            <a:ext cx="1056438" cy="1056438"/>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en-US" sz="2400" kern="0" dirty="0">
                <a:solidFill>
                  <a:schemeClr val="tx1"/>
                </a:solidFill>
              </a:rPr>
              <a:t>G5</a:t>
            </a:r>
          </a:p>
        </p:txBody>
      </p:sp>
      <p:sp>
        <p:nvSpPr>
          <p:cNvPr id="26" name="ee4pFootnotes">
            <a:extLst>
              <a:ext uri="{FF2B5EF4-FFF2-40B4-BE49-F238E27FC236}">
                <a16:creationId xmlns:a16="http://schemas.microsoft.com/office/drawing/2014/main" id="{7BF8C12E-E5BE-4DB6-B993-178C54BF3BE3}"/>
              </a:ext>
            </a:extLst>
          </p:cNvPr>
          <p:cNvSpPr>
            <a:spLocks noChangeArrowheads="1"/>
          </p:cNvSpPr>
          <p:nvPr/>
        </p:nvSpPr>
        <p:spPr bwMode="auto">
          <a:xfrm>
            <a:off x="5676626" y="6412974"/>
            <a:ext cx="4506017"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Note: Examples, non definitive</a:t>
            </a:r>
          </a:p>
        </p:txBody>
      </p:sp>
    </p:spTree>
    <p:custDataLst>
      <p:tags r:id="rId2"/>
    </p:custDataLst>
    <p:extLst>
      <p:ext uri="{BB962C8B-B14F-4D97-AF65-F5344CB8AC3E}">
        <p14:creationId xmlns:p14="http://schemas.microsoft.com/office/powerpoint/2010/main" val="3065849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37B88F-5631-4A9B-8C40-6EC6520E97D1}"/>
              </a:ext>
            </a:extLst>
          </p:cNvPr>
          <p:cNvGraphicFramePr>
            <a:graphicFrameLocks noChangeAspect="1"/>
          </p:cNvGraphicFramePr>
          <p:nvPr>
            <p:custDataLst>
              <p:tags r:id="rId3"/>
            </p:custDataLst>
            <p:extLst>
              <p:ext uri="{D42A27DB-BD31-4B8C-83A1-F6EECF244321}">
                <p14:modId xmlns:p14="http://schemas.microsoft.com/office/powerpoint/2010/main" val="894292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4"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0F0E07-7CB0-4488-81BC-C4F750AF1BF7}"/>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FC37F973-0343-4686-8B34-76A8D7B09E00}"/>
              </a:ext>
            </a:extLst>
          </p:cNvPr>
          <p:cNvSpPr/>
          <p:nvPr/>
        </p:nvSpPr>
        <p:spPr>
          <a:xfrm>
            <a:off x="9994900" y="1409701"/>
            <a:ext cx="766886" cy="3043604"/>
          </a:xfrm>
          <a:prstGeom prst="rect">
            <a:avLst/>
          </a:prstGeom>
          <a:solidFill>
            <a:srgbClr val="D4DF33">
              <a:alpha val="5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 name="Title 2"/>
          <p:cNvSpPr>
            <a:spLocks noGrp="1"/>
          </p:cNvSpPr>
          <p:nvPr>
            <p:ph type="title"/>
          </p:nvPr>
        </p:nvSpPr>
        <p:spPr/>
        <p:txBody>
          <a:bodyPr/>
          <a:lstStyle/>
          <a:p>
            <a:r>
              <a:rPr lang="en-US" dirty="0"/>
              <a:t>Example Performance by Team</a:t>
            </a:r>
          </a:p>
        </p:txBody>
      </p:sp>
      <p:graphicFrame>
        <p:nvGraphicFramePr>
          <p:cNvPr id="7" name="table_type_name">
            <a:extLst>
              <a:ext uri="{FF2B5EF4-FFF2-40B4-BE49-F238E27FC236}">
                <a16:creationId xmlns:a16="http://schemas.microsoft.com/office/drawing/2014/main" id="{0D49AE02-F44D-43B0-B9FB-AC9F6BCA9D90}"/>
              </a:ext>
            </a:extLst>
          </p:cNvPr>
          <p:cNvGraphicFramePr>
            <a:graphicFrameLocks noGrp="1"/>
          </p:cNvGraphicFramePr>
          <p:nvPr>
            <p:extLst>
              <p:ext uri="{D42A27DB-BD31-4B8C-83A1-F6EECF244321}">
                <p14:modId xmlns:p14="http://schemas.microsoft.com/office/powerpoint/2010/main" val="3863186986"/>
              </p:ext>
            </p:extLst>
          </p:nvPr>
        </p:nvGraphicFramePr>
        <p:xfrm>
          <a:off x="4199224" y="514760"/>
          <a:ext cx="6562562" cy="5998464"/>
        </p:xfrm>
        <a:graphic>
          <a:graphicData uri="http://schemas.openxmlformats.org/drawingml/2006/table">
            <a:tbl>
              <a:tblPr/>
              <a:tblGrid>
                <a:gridCol w="1295968">
                  <a:extLst>
                    <a:ext uri="{9D8B030D-6E8A-4147-A177-3AD203B41FA5}">
                      <a16:colId xmlns:a16="http://schemas.microsoft.com/office/drawing/2014/main" val="20000"/>
                    </a:ext>
                  </a:extLst>
                </a:gridCol>
                <a:gridCol w="1604596">
                  <a:extLst>
                    <a:ext uri="{9D8B030D-6E8A-4147-A177-3AD203B41FA5}">
                      <a16:colId xmlns:a16="http://schemas.microsoft.com/office/drawing/2014/main" val="20001"/>
                    </a:ext>
                  </a:extLst>
                </a:gridCol>
                <a:gridCol w="1578220">
                  <a:extLst>
                    <a:ext uri="{9D8B030D-6E8A-4147-A177-3AD203B41FA5}">
                      <a16:colId xmlns:a16="http://schemas.microsoft.com/office/drawing/2014/main" val="20002"/>
                    </a:ext>
                  </a:extLst>
                </a:gridCol>
                <a:gridCol w="2083778">
                  <a:extLst>
                    <a:ext uri="{9D8B030D-6E8A-4147-A177-3AD203B41FA5}">
                      <a16:colId xmlns:a16="http://schemas.microsoft.com/office/drawing/2014/main" val="1650324205"/>
                    </a:ext>
                  </a:extLst>
                </a:gridCol>
              </a:tblGrid>
              <a:tr h="0">
                <a:tc>
                  <a:txBody>
                    <a:bodyPr/>
                    <a:lstStyle/>
                    <a:p>
                      <a:pPr marL="0" marR="0" lvl="0" indent="0" algn="r" defTabSz="914400" rtl="0" eaLnBrk="1" fontAlgn="base"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575757"/>
                          </a:solidFill>
                          <a:effectLst/>
                          <a:latin typeface="Trebuchet MS" panose="020B0603020202020204" pitchFamily="34" charset="0"/>
                          <a:cs typeface="Arial" charset="0"/>
                          <a:sym typeface="Trebuchet MS" panose="020B0603020202020204" pitchFamily="34" charset="0"/>
                        </a:rPr>
                        <a:t>Finishing Place</a:t>
                      </a:r>
                    </a:p>
                  </a:txBody>
                  <a:tcPr marL="0" marR="72000" marT="73152" marB="73152" anchor="b" horzOverflow="overflow">
                    <a:lnL cap="flat">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575757"/>
                          </a:solidFill>
                          <a:effectLst/>
                          <a:latin typeface="Trebuchet MS" panose="020B0603020202020204" pitchFamily="34" charset="0"/>
                          <a:cs typeface="Arial" charset="0"/>
                          <a:sym typeface="Trebuchet MS" panose="020B0603020202020204" pitchFamily="34" charset="0"/>
                        </a:rPr>
                        <a:t>Finishing Score</a:t>
                      </a:r>
                    </a:p>
                  </a:txBody>
                  <a:tcPr marL="0" marR="73152" marT="73152" marB="73152" anchor="b"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575757"/>
                          </a:solidFill>
                          <a:effectLst/>
                          <a:latin typeface="Trebuchet MS" panose="020B0603020202020204" pitchFamily="34" charset="0"/>
                          <a:cs typeface="Arial" charset="0"/>
                          <a:sym typeface="Trebuchet MS" panose="020B0603020202020204" pitchFamily="34" charset="0"/>
                        </a:rPr>
                        <a:t>Event Multiplier</a:t>
                      </a:r>
                    </a:p>
                  </a:txBody>
                  <a:tcPr marL="0" marR="73152" marT="73152" marB="73152" anchor="b"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29BA74"/>
                          </a:solidFill>
                          <a:effectLst/>
                          <a:latin typeface="Trebuchet MS" panose="020B0603020202020204" pitchFamily="34" charset="0"/>
                          <a:cs typeface="Arial" charset="0"/>
                          <a:sym typeface="Trebuchet MS" panose="020B0603020202020204" pitchFamily="34" charset="0"/>
                        </a:rPr>
                        <a:t>Total Event Score</a:t>
                      </a:r>
                    </a:p>
                  </a:txBody>
                  <a:tcPr marL="0" marR="73152" marT="73152" marB="73152" anchor="b"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5</a:t>
                      </a:r>
                    </a:p>
                  </a:txBody>
                  <a:tcPr marL="0" marR="72000" marT="73152" marB="73152" horzOverflow="overflow">
                    <a:lnL cap="flat">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60</a:t>
                      </a:r>
                    </a:p>
                  </a:txBody>
                  <a:tcPr marL="0" marR="73152" marT="73152" marB="73152"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6.5</a:t>
                      </a:r>
                    </a:p>
                  </a:txBody>
                  <a:tcPr marL="0" marR="73152" marT="73152" marB="73152" horzOverflow="overflow">
                    <a:lnL>
                      <a:noFill/>
                    </a:lnL>
                    <a:lnR cap="flat">
                      <a:noFill/>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29BA74"/>
                          </a:solidFill>
                          <a:effectLst/>
                          <a:latin typeface="Trebuchet MS" panose="020B0603020202020204" pitchFamily="34" charset="0"/>
                          <a:cs typeface="Arial" charset="0"/>
                          <a:sym typeface="Trebuchet MS" panose="020B0603020202020204" pitchFamily="34" charset="0"/>
                        </a:rPr>
                        <a:t>390</a:t>
                      </a:r>
                    </a:p>
                  </a:txBody>
                  <a:tcPr marL="0" marR="73152" marT="73152" marB="73152" horzOverflow="overflow">
                    <a:lnL>
                      <a:noFill/>
                    </a:lnL>
                    <a:lnR cap="flat">
                      <a:noFill/>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6</a:t>
                      </a:r>
                    </a:p>
                  </a:txBody>
                  <a:tcPr marL="0" marR="72000" marT="73152" marB="73152" horzOverflow="overflow">
                    <a:lnL cap="flat">
                      <a:noFill/>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50</a:t>
                      </a:r>
                    </a:p>
                  </a:txBody>
                  <a:tcPr marL="0" marR="73152" marT="73152" marB="73152" horzOverflow="overflow">
                    <a:lnL w="12700" cap="flat" cmpd="sng" algn="ctr">
                      <a:solidFill>
                        <a:schemeClr val="tx1"/>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6.5</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29BA74"/>
                          </a:solidFill>
                          <a:effectLst/>
                          <a:latin typeface="Trebuchet MS" panose="020B0603020202020204" pitchFamily="34" charset="0"/>
                          <a:cs typeface="Arial" charset="0"/>
                          <a:sym typeface="Trebuchet MS" panose="020B0603020202020204" pitchFamily="34" charset="0"/>
                        </a:rPr>
                        <a:t>33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61372353"/>
                  </a:ext>
                </a:extLst>
              </a:tr>
              <a:tr h="0">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3</a:t>
                      </a:r>
                    </a:p>
                  </a:txBody>
                  <a:tcPr marL="0" marR="72000" marT="73152" marB="73152" horzOverflow="overflow">
                    <a:lnL cap="flat">
                      <a:noFill/>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80</a:t>
                      </a:r>
                    </a:p>
                  </a:txBody>
                  <a:tcPr marL="0" marR="73152" marT="73152" marB="73152" horzOverflow="overflow">
                    <a:lnL w="12700" cap="flat" cmpd="sng" algn="ctr">
                      <a:solidFill>
                        <a:schemeClr val="tx1"/>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4.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29BA74"/>
                          </a:solidFill>
                          <a:effectLst/>
                          <a:latin typeface="Trebuchet MS" panose="020B0603020202020204" pitchFamily="34" charset="0"/>
                          <a:cs typeface="Arial" charset="0"/>
                          <a:sym typeface="Trebuchet MS" panose="020B0603020202020204" pitchFamily="34" charset="0"/>
                        </a:rPr>
                        <a:t>32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9159401"/>
                  </a:ext>
                </a:extLst>
              </a:tr>
              <a:tr h="0">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1</a:t>
                      </a:r>
                    </a:p>
                  </a:txBody>
                  <a:tcPr marL="0" marR="72000" marT="73152" marB="73152" horzOverflow="overflow">
                    <a:lnL cap="flat">
                      <a:noFill/>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100</a:t>
                      </a:r>
                    </a:p>
                  </a:txBody>
                  <a:tcPr marL="0" marR="73152" marT="73152" marB="73152" horzOverflow="overflow">
                    <a:lnL w="12700" cap="flat" cmpd="sng" algn="ctr">
                      <a:solidFill>
                        <a:schemeClr val="tx1"/>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2.5</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29BA74"/>
                          </a:solidFill>
                          <a:effectLst/>
                          <a:latin typeface="Trebuchet MS" panose="020B0603020202020204" pitchFamily="34" charset="0"/>
                          <a:cs typeface="Arial" charset="0"/>
                          <a:sym typeface="Trebuchet MS" panose="020B0603020202020204" pitchFamily="34" charset="0"/>
                        </a:rPr>
                        <a:t>25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92030547"/>
                  </a:ext>
                </a:extLst>
              </a:tr>
              <a:tr h="0">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7</a:t>
                      </a:r>
                    </a:p>
                  </a:txBody>
                  <a:tcPr marL="0" marR="72000" marT="73152" marB="73152" horzOverflow="overflow">
                    <a:lnL cap="flat">
                      <a:noFill/>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40</a:t>
                      </a:r>
                    </a:p>
                  </a:txBody>
                  <a:tcPr marL="0" marR="73152" marT="73152" marB="73152" horzOverflow="overflow">
                    <a:lnL w="12700" cap="flat" cmpd="sng" algn="ctr">
                      <a:solidFill>
                        <a:schemeClr val="tx1"/>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4.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29BA74"/>
                          </a:solidFill>
                          <a:effectLst/>
                          <a:latin typeface="Trebuchet MS" panose="020B0603020202020204" pitchFamily="34" charset="0"/>
                          <a:cs typeface="Arial" charset="0"/>
                          <a:sym typeface="Trebuchet MS" panose="020B0603020202020204" pitchFamily="34" charset="0"/>
                        </a:rPr>
                        <a:t>16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94099289"/>
                  </a:ext>
                </a:extLst>
              </a:tr>
              <a:tr h="0">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9</a:t>
                      </a:r>
                    </a:p>
                  </a:txBody>
                  <a:tcPr marL="0" marR="72000" marT="73152" marB="73152" horzOverflow="overflow">
                    <a:lnL cap="flat">
                      <a:noFill/>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20</a:t>
                      </a:r>
                    </a:p>
                  </a:txBody>
                  <a:tcPr marL="0" marR="73152" marT="73152" marB="73152" horzOverflow="overflow">
                    <a:lnL w="12700" cap="flat" cmpd="sng" algn="ctr">
                      <a:solidFill>
                        <a:schemeClr val="tx1"/>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6.5</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29BA74"/>
                          </a:solidFill>
                          <a:effectLst/>
                          <a:latin typeface="Trebuchet MS" panose="020B0603020202020204" pitchFamily="34" charset="0"/>
                          <a:cs typeface="Arial" charset="0"/>
                          <a:sym typeface="Trebuchet MS" panose="020B0603020202020204" pitchFamily="34" charset="0"/>
                        </a:rPr>
                        <a:t>13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28829402"/>
                  </a:ext>
                </a:extLst>
              </a:tr>
              <a:tr h="0">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3</a:t>
                      </a:r>
                    </a:p>
                  </a:txBody>
                  <a:tcPr marL="0" marR="72000" marT="73152" marB="73152" horzOverflow="overflow">
                    <a:lnL cap="flat">
                      <a:noFill/>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80</a:t>
                      </a:r>
                    </a:p>
                  </a:txBody>
                  <a:tcPr marL="0" marR="73152" marT="73152" marB="73152" horzOverflow="overflow">
                    <a:lnL w="12700" cap="flat" cmpd="sng" algn="ctr">
                      <a:solidFill>
                        <a:schemeClr val="tx1"/>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1.5</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12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53566467"/>
                  </a:ext>
                </a:extLst>
              </a:tr>
              <a:tr h="0">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10</a:t>
                      </a:r>
                    </a:p>
                  </a:txBody>
                  <a:tcPr marL="0" marR="72000" marT="73152" marB="73152" horzOverflow="overflow">
                    <a:lnL cap="flat">
                      <a:noFill/>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10</a:t>
                      </a:r>
                    </a:p>
                  </a:txBody>
                  <a:tcPr marL="0" marR="73152" marT="73152" marB="73152" horzOverflow="overflow">
                    <a:lnL w="12700" cap="flat" cmpd="sng" algn="ctr">
                      <a:solidFill>
                        <a:schemeClr val="tx1"/>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8.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8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92100828"/>
                  </a:ext>
                </a:extLst>
              </a:tr>
              <a:tr h="0">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14</a:t>
                      </a:r>
                    </a:p>
                  </a:txBody>
                  <a:tcPr marL="0" marR="72000" marT="73152" marB="73152" horzOverflow="overflow">
                    <a:lnL cap="flat">
                      <a:noFill/>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6</a:t>
                      </a:r>
                    </a:p>
                  </a:txBody>
                  <a:tcPr marL="0" marR="73152" marT="73152" marB="73152" horzOverflow="overflow">
                    <a:lnL w="12700" cap="flat" cmpd="sng" algn="ctr">
                      <a:solidFill>
                        <a:schemeClr val="tx1"/>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4.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24</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80029479"/>
                  </a:ext>
                </a:extLst>
              </a:tr>
              <a:tr h="0">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20</a:t>
                      </a:r>
                    </a:p>
                  </a:txBody>
                  <a:tcPr marL="0" marR="72000" marT="73152" marB="73152" horzOverflow="overflow">
                    <a:lnL cap="flat">
                      <a:noFill/>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0</a:t>
                      </a:r>
                    </a:p>
                  </a:txBody>
                  <a:tcPr marL="0" marR="73152" marT="73152" marB="73152" horzOverflow="overflow">
                    <a:lnL w="12700" cap="flat" cmpd="sng" algn="ctr">
                      <a:solidFill>
                        <a:schemeClr val="tx1"/>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6.5</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2400" b="0" i="0" u="none" strike="noStrike" kern="1200" cap="none" spc="0" normalizeH="0" baseline="0" dirty="0">
                          <a:ln>
                            <a:noFill/>
                          </a:ln>
                          <a:solidFill>
                            <a:srgbClr val="6E6F73"/>
                          </a:solidFill>
                          <a:effectLst/>
                          <a:latin typeface="Trebuchet MS" panose="020B0603020202020204" pitchFamily="34" charset="0"/>
                          <a:cs typeface="Arial" charset="0"/>
                          <a:sym typeface="Trebuchet MS" panose="020B0603020202020204" pitchFamily="34" charset="0"/>
                        </a:rPr>
                        <a:t>0</a:t>
                      </a:r>
                    </a:p>
                  </a:txBody>
                  <a:tcPr marL="0" marR="73152" marT="73152" marB="73152" horzOverflow="overflow">
                    <a:lnL>
                      <a:noFill/>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35148125"/>
                  </a:ext>
                </a:extLst>
              </a:tr>
            </a:tbl>
          </a:graphicData>
        </a:graphic>
      </p:graphicFrame>
      <p:sp>
        <p:nvSpPr>
          <p:cNvPr id="8" name="Right Brace 7">
            <a:extLst>
              <a:ext uri="{FF2B5EF4-FFF2-40B4-BE49-F238E27FC236}">
                <a16:creationId xmlns:a16="http://schemas.microsoft.com/office/drawing/2014/main" id="{BF0340CF-85FD-4373-B94B-9EFA4FF5A87C}"/>
              </a:ext>
            </a:extLst>
          </p:cNvPr>
          <p:cNvSpPr/>
          <p:nvPr/>
        </p:nvSpPr>
        <p:spPr>
          <a:xfrm>
            <a:off x="10906858" y="1375996"/>
            <a:ext cx="189034" cy="3077308"/>
          </a:xfrm>
          <a:prstGeom prst="rightBrace">
            <a:avLst/>
          </a:prstGeom>
          <a:ln w="3810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a:extLst>
              <a:ext uri="{FF2B5EF4-FFF2-40B4-BE49-F238E27FC236}">
                <a16:creationId xmlns:a16="http://schemas.microsoft.com/office/drawing/2014/main" id="{4668DB2E-86EB-4602-8943-7882F38B27C8}"/>
              </a:ext>
            </a:extLst>
          </p:cNvPr>
          <p:cNvSpPr txBox="1"/>
          <p:nvPr/>
        </p:nvSpPr>
        <p:spPr>
          <a:xfrm>
            <a:off x="11044719" y="2272811"/>
            <a:ext cx="1034562" cy="12836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rgbClr val="29BA74"/>
                </a:solidFill>
              </a:rPr>
              <a:t>Top 6 scores </a:t>
            </a:r>
          </a:p>
          <a:p>
            <a:pPr algn="ctr"/>
            <a:r>
              <a:rPr lang="en-US" sz="2000" b="1" dirty="0">
                <a:solidFill>
                  <a:srgbClr val="29BA74"/>
                </a:solidFill>
              </a:rPr>
              <a:t>=</a:t>
            </a:r>
          </a:p>
          <a:p>
            <a:pPr algn="ctr"/>
            <a:r>
              <a:rPr lang="en-US" sz="2000" b="1" dirty="0">
                <a:solidFill>
                  <a:srgbClr val="29BA74"/>
                </a:solidFill>
              </a:rPr>
              <a:t>1580</a:t>
            </a:r>
          </a:p>
        </p:txBody>
      </p:sp>
    </p:spTree>
    <p:custDataLst>
      <p:tags r:id="rId2"/>
    </p:custDataLst>
    <p:extLst>
      <p:ext uri="{BB962C8B-B14F-4D97-AF65-F5344CB8AC3E}">
        <p14:creationId xmlns:p14="http://schemas.microsoft.com/office/powerpoint/2010/main" val="2036941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C1A0244-3890-4F53-82F6-EE6BB2B034CA}"/>
              </a:ext>
            </a:extLst>
          </p:cNvPr>
          <p:cNvSpPr txBox="1"/>
          <p:nvPr/>
        </p:nvSpPr>
        <p:spPr>
          <a:xfrm>
            <a:off x="4929807" y="5451602"/>
            <a:ext cx="1549197" cy="430887"/>
          </a:xfrm>
          <a:prstGeom prst="rect">
            <a:avLst/>
          </a:prstGeom>
          <a:noFill/>
        </p:spPr>
        <p:txBody>
          <a:bodyPr wrap="square" lIns="108000" tIns="0" rIns="0" bIns="0" rtlCol="0" anchor="ctr">
            <a:spAutoFit/>
          </a:bodyPr>
          <a:lstStyle/>
          <a:p>
            <a:pPr>
              <a:buSzPct val="100000"/>
              <a:buFont typeface="Trebuchet MS" panose="020B0603020202020204" pitchFamily="34" charset="0"/>
              <a:buChar char="​"/>
            </a:pPr>
            <a:r>
              <a:rPr lang="en-US" sz="2800" dirty="0">
                <a:solidFill>
                  <a:schemeClr val="accent4"/>
                </a:solidFill>
                <a:latin typeface="Trebuchet MS" panose="020B0603020202020204" pitchFamily="34" charset="0"/>
              </a:rPr>
              <a:t>Simple</a:t>
            </a:r>
            <a:endParaRPr lang="en-US" dirty="0">
              <a:solidFill>
                <a:schemeClr val="accent4"/>
              </a:solidFill>
              <a:latin typeface="Trebuchet MS" panose="020B0603020202020204" pitchFamily="34" charset="0"/>
            </a:endParaRPr>
          </a:p>
        </p:txBody>
      </p:sp>
      <p:sp>
        <p:nvSpPr>
          <p:cNvPr id="3" name="Freeform 20">
            <a:extLst>
              <a:ext uri="{FF2B5EF4-FFF2-40B4-BE49-F238E27FC236}">
                <a16:creationId xmlns:a16="http://schemas.microsoft.com/office/drawing/2014/main" id="{26CA649F-2904-4CB4-9939-3E2734735168}"/>
              </a:ext>
            </a:extLst>
          </p:cNvPr>
          <p:cNvSpPr/>
          <p:nvPr/>
        </p:nvSpPr>
        <p:spPr>
          <a:xfrm>
            <a:off x="1580950" y="-1"/>
            <a:ext cx="2148512" cy="6871448"/>
          </a:xfrm>
          <a:custGeom>
            <a:avLst/>
            <a:gdLst>
              <a:gd name="connsiteX0" fmla="*/ 0 w 3729462"/>
              <a:gd name="connsiteY0" fmla="*/ 0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7" fmla="*/ 0 w 3729462"/>
              <a:gd name="connsiteY7" fmla="*/ 0 h 6871448"/>
              <a:gd name="connsiteX0" fmla="*/ 0 w 3729462"/>
              <a:gd name="connsiteY0" fmla="*/ 6871448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0" fmla="*/ 0 w 3729462"/>
              <a:gd name="connsiteY0" fmla="*/ 6871448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6" fmla="*/ 1672390 w 3729462"/>
              <a:gd name="connsiteY6" fmla="*/ 91440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6" fmla="*/ 247002 w 3729462"/>
              <a:gd name="connsiteY6" fmla="*/ 1167205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0" fmla="*/ 0 w 2148512"/>
              <a:gd name="connsiteY0" fmla="*/ 0 h 6871448"/>
              <a:gd name="connsiteX1" fmla="*/ 163014 w 2148512"/>
              <a:gd name="connsiteY1" fmla="*/ 252070 h 6871448"/>
              <a:gd name="connsiteX2" fmla="*/ 1639165 w 2148512"/>
              <a:gd name="connsiteY2" fmla="*/ 2808840 h 6871448"/>
              <a:gd name="connsiteX3" fmla="*/ 1487764 w 2148512"/>
              <a:gd name="connsiteY3" fmla="*/ 6848395 h 6871448"/>
              <a:gd name="connsiteX4" fmla="*/ 1471215 w 2148512"/>
              <a:gd name="connsiteY4" fmla="*/ 6871448 h 6871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512" h="6871448">
                <a:moveTo>
                  <a:pt x="0" y="0"/>
                </a:moveTo>
                <a:lnTo>
                  <a:pt x="163014" y="252070"/>
                </a:lnTo>
                <a:lnTo>
                  <a:pt x="1639165" y="2808840"/>
                </a:lnTo>
                <a:cubicBezTo>
                  <a:pt x="2392802" y="4114176"/>
                  <a:pt x="2283307" y="5680988"/>
                  <a:pt x="1487764" y="6848395"/>
                </a:cubicBezTo>
                <a:lnTo>
                  <a:pt x="1471215" y="6871448"/>
                </a:lnTo>
              </a:path>
            </a:pathLst>
          </a:cu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4" name="Freeform 25">
            <a:extLst>
              <a:ext uri="{FF2B5EF4-FFF2-40B4-BE49-F238E27FC236}">
                <a16:creationId xmlns:a16="http://schemas.microsoft.com/office/drawing/2014/main" id="{9431A022-8D2C-4B31-B5F4-2AB5575CA6BE}"/>
              </a:ext>
            </a:extLst>
          </p:cNvPr>
          <p:cNvSpPr/>
          <p:nvPr/>
        </p:nvSpPr>
        <p:spPr>
          <a:xfrm>
            <a:off x="1572252" y="-13448"/>
            <a:ext cx="2157209" cy="6884896"/>
          </a:xfrm>
          <a:custGeom>
            <a:avLst/>
            <a:gdLst>
              <a:gd name="connsiteX0" fmla="*/ 0 w 3742907"/>
              <a:gd name="connsiteY0" fmla="*/ 0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6" fmla="*/ 0 w 3742907"/>
              <a:gd name="connsiteY6" fmla="*/ 6884896 h 6884896"/>
              <a:gd name="connsiteX7" fmla="*/ 0 w 3742907"/>
              <a:gd name="connsiteY7" fmla="*/ 0 h 6884896"/>
              <a:gd name="connsiteX0" fmla="*/ 0 w 3742907"/>
              <a:gd name="connsiteY0" fmla="*/ 6884896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6" fmla="*/ 0 w 3742907"/>
              <a:gd name="connsiteY6" fmla="*/ 6884896 h 6884896"/>
              <a:gd name="connsiteX0" fmla="*/ 0 w 3742907"/>
              <a:gd name="connsiteY0" fmla="*/ 6884896 h 6976336"/>
              <a:gd name="connsiteX1" fmla="*/ 3065610 w 3742907"/>
              <a:gd name="connsiteY1" fmla="*/ 0 h 6976336"/>
              <a:gd name="connsiteX2" fmla="*/ 3082159 w 3742907"/>
              <a:gd name="connsiteY2" fmla="*/ 23053 h 6976336"/>
              <a:gd name="connsiteX3" fmla="*/ 3233560 w 3742907"/>
              <a:gd name="connsiteY3" fmla="*/ 4062608 h 6976336"/>
              <a:gd name="connsiteX4" fmla="*/ 1757409 w 3742907"/>
              <a:gd name="connsiteY4" fmla="*/ 6619378 h 6976336"/>
              <a:gd name="connsiteX5" fmla="*/ 1585698 w 3742907"/>
              <a:gd name="connsiteY5" fmla="*/ 6884896 h 6976336"/>
              <a:gd name="connsiteX6" fmla="*/ 91440 w 3742907"/>
              <a:gd name="connsiteY6" fmla="*/ 6976336 h 6976336"/>
              <a:gd name="connsiteX0" fmla="*/ 0 w 3742907"/>
              <a:gd name="connsiteY0" fmla="*/ 6884896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0" fmla="*/ 1479912 w 2157209"/>
              <a:gd name="connsiteY0" fmla="*/ 0 h 6884896"/>
              <a:gd name="connsiteX1" fmla="*/ 1496461 w 2157209"/>
              <a:gd name="connsiteY1" fmla="*/ 23053 h 6884896"/>
              <a:gd name="connsiteX2" fmla="*/ 1647862 w 2157209"/>
              <a:gd name="connsiteY2" fmla="*/ 4062608 h 6884896"/>
              <a:gd name="connsiteX3" fmla="*/ 171711 w 2157209"/>
              <a:gd name="connsiteY3" fmla="*/ 6619378 h 6884896"/>
              <a:gd name="connsiteX4" fmla="*/ 0 w 2157209"/>
              <a:gd name="connsiteY4" fmla="*/ 6884896 h 6884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7209" h="6884896">
                <a:moveTo>
                  <a:pt x="1479912" y="0"/>
                </a:moveTo>
                <a:lnTo>
                  <a:pt x="1496461" y="23053"/>
                </a:lnTo>
                <a:cubicBezTo>
                  <a:pt x="2292004" y="1190460"/>
                  <a:pt x="2401499" y="2757272"/>
                  <a:pt x="1647862" y="4062608"/>
                </a:cubicBezTo>
                <a:lnTo>
                  <a:pt x="171711" y="6619378"/>
                </a:lnTo>
                <a:lnTo>
                  <a:pt x="0" y="6884896"/>
                </a:lnTo>
              </a:path>
            </a:pathLst>
          </a:custGeom>
          <a:noFill/>
          <a:ln w="9525">
            <a:solidFill>
              <a:srgbClr val="2E355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5" name="Freeform 26">
            <a:extLst>
              <a:ext uri="{FF2B5EF4-FFF2-40B4-BE49-F238E27FC236}">
                <a16:creationId xmlns:a16="http://schemas.microsoft.com/office/drawing/2014/main" id="{EC376A0E-1FA1-4C1A-BBF4-D50D26842998}"/>
              </a:ext>
            </a:extLst>
          </p:cNvPr>
          <p:cNvSpPr/>
          <p:nvPr/>
        </p:nvSpPr>
        <p:spPr>
          <a:xfrm>
            <a:off x="2442547" y="-13448"/>
            <a:ext cx="548203" cy="6871448"/>
          </a:xfrm>
          <a:custGeom>
            <a:avLst/>
            <a:gdLst>
              <a:gd name="connsiteX0" fmla="*/ 0 w 2990749"/>
              <a:gd name="connsiteY0" fmla="*/ 0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7" fmla="*/ 0 w 2990749"/>
              <a:gd name="connsiteY7" fmla="*/ 6871448 h 6871448"/>
              <a:gd name="connsiteX8" fmla="*/ 0 w 2990749"/>
              <a:gd name="connsiteY8" fmla="*/ 0 h 6871448"/>
              <a:gd name="connsiteX0" fmla="*/ 0 w 2990749"/>
              <a:gd name="connsiteY0" fmla="*/ 6871448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7" fmla="*/ 0 w 2990749"/>
              <a:gd name="connsiteY7" fmla="*/ 6871448 h 6871448"/>
              <a:gd name="connsiteX0" fmla="*/ 0 w 2990749"/>
              <a:gd name="connsiteY0" fmla="*/ 6871448 h 6962888"/>
              <a:gd name="connsiteX1" fmla="*/ 2442546 w 2990749"/>
              <a:gd name="connsiteY1" fmla="*/ 0 h 6962888"/>
              <a:gd name="connsiteX2" fmla="*/ 2532461 w 2990749"/>
              <a:gd name="connsiteY2" fmla="*/ 156377 h 6962888"/>
              <a:gd name="connsiteX3" fmla="*/ 2990749 w 2990749"/>
              <a:gd name="connsiteY3" fmla="*/ 1966296 h 6962888"/>
              <a:gd name="connsiteX4" fmla="*/ 2990749 w 2990749"/>
              <a:gd name="connsiteY4" fmla="*/ 4918599 h 6962888"/>
              <a:gd name="connsiteX5" fmla="*/ 2532461 w 2990749"/>
              <a:gd name="connsiteY5" fmla="*/ 6728518 h 6962888"/>
              <a:gd name="connsiteX6" fmla="*/ 2450278 w 2990749"/>
              <a:gd name="connsiteY6" fmla="*/ 6871448 h 6962888"/>
              <a:gd name="connsiteX7" fmla="*/ 91440 w 2990749"/>
              <a:gd name="connsiteY7" fmla="*/ 6962888 h 6962888"/>
              <a:gd name="connsiteX0" fmla="*/ 0 w 2990749"/>
              <a:gd name="connsiteY0" fmla="*/ 6871448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0" fmla="*/ 0 w 548203"/>
              <a:gd name="connsiteY0" fmla="*/ 0 h 6871448"/>
              <a:gd name="connsiteX1" fmla="*/ 89915 w 548203"/>
              <a:gd name="connsiteY1" fmla="*/ 156377 h 6871448"/>
              <a:gd name="connsiteX2" fmla="*/ 548203 w 548203"/>
              <a:gd name="connsiteY2" fmla="*/ 1966296 h 6871448"/>
              <a:gd name="connsiteX3" fmla="*/ 548203 w 548203"/>
              <a:gd name="connsiteY3" fmla="*/ 4918599 h 6871448"/>
              <a:gd name="connsiteX4" fmla="*/ 89915 w 548203"/>
              <a:gd name="connsiteY4" fmla="*/ 6728518 h 6871448"/>
              <a:gd name="connsiteX5" fmla="*/ 7732 w 548203"/>
              <a:gd name="connsiteY5" fmla="*/ 6871448 h 6871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203" h="6871448">
                <a:moveTo>
                  <a:pt x="0" y="0"/>
                </a:moveTo>
                <a:lnTo>
                  <a:pt x="89915" y="156377"/>
                </a:lnTo>
                <a:cubicBezTo>
                  <a:pt x="382186" y="694400"/>
                  <a:pt x="548203" y="1310960"/>
                  <a:pt x="548203" y="1966296"/>
                </a:cubicBezTo>
                <a:lnTo>
                  <a:pt x="548203" y="4918599"/>
                </a:lnTo>
                <a:cubicBezTo>
                  <a:pt x="548203" y="5573935"/>
                  <a:pt x="382186" y="6190495"/>
                  <a:pt x="89915" y="6728518"/>
                </a:cubicBezTo>
                <a:lnTo>
                  <a:pt x="7732" y="6871448"/>
                </a:lnTo>
              </a:path>
            </a:pathLst>
          </a:cu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6" name="Freeform 38">
            <a:extLst>
              <a:ext uri="{FF2B5EF4-FFF2-40B4-BE49-F238E27FC236}">
                <a16:creationId xmlns:a16="http://schemas.microsoft.com/office/drawing/2014/main" id="{E399460C-5AA5-4F38-B9AF-BC984CF0AD20}"/>
              </a:ext>
            </a:extLst>
          </p:cNvPr>
          <p:cNvSpPr/>
          <p:nvPr/>
        </p:nvSpPr>
        <p:spPr>
          <a:xfrm>
            <a:off x="2272232" y="-13447"/>
            <a:ext cx="2194675" cy="6871449"/>
          </a:xfrm>
          <a:custGeom>
            <a:avLst/>
            <a:gdLst>
              <a:gd name="connsiteX0" fmla="*/ 0 w 4453460"/>
              <a:gd name="connsiteY0" fmla="*/ 0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6" fmla="*/ 0 w 4453460"/>
              <a:gd name="connsiteY6" fmla="*/ 6871449 h 6871449"/>
              <a:gd name="connsiteX7" fmla="*/ 0 w 4453460"/>
              <a:gd name="connsiteY7" fmla="*/ 0 h 6871449"/>
              <a:gd name="connsiteX0" fmla="*/ 0 w 4453460"/>
              <a:gd name="connsiteY0" fmla="*/ 6871449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6" fmla="*/ 0 w 4453460"/>
              <a:gd name="connsiteY6" fmla="*/ 6871449 h 6871449"/>
              <a:gd name="connsiteX0" fmla="*/ 0 w 4453460"/>
              <a:gd name="connsiteY0" fmla="*/ 6871449 h 6962889"/>
              <a:gd name="connsiteX1" fmla="*/ 2258785 w 4453460"/>
              <a:gd name="connsiteY1" fmla="*/ 0 h 6962889"/>
              <a:gd name="connsiteX2" fmla="*/ 2302564 w 4453460"/>
              <a:gd name="connsiteY2" fmla="*/ 19792 h 6962889"/>
              <a:gd name="connsiteX3" fmla="*/ 4453460 w 4453460"/>
              <a:gd name="connsiteY3" fmla="*/ 3442450 h 6962889"/>
              <a:gd name="connsiteX4" fmla="*/ 2302564 w 4453460"/>
              <a:gd name="connsiteY4" fmla="*/ 6865107 h 6962889"/>
              <a:gd name="connsiteX5" fmla="*/ 2288536 w 4453460"/>
              <a:gd name="connsiteY5" fmla="*/ 6871449 h 6962889"/>
              <a:gd name="connsiteX6" fmla="*/ 91440 w 4453460"/>
              <a:gd name="connsiteY6" fmla="*/ 6962889 h 6962889"/>
              <a:gd name="connsiteX0" fmla="*/ 0 w 4453460"/>
              <a:gd name="connsiteY0" fmla="*/ 6871449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0" fmla="*/ 0 w 2194675"/>
              <a:gd name="connsiteY0" fmla="*/ 0 h 6871449"/>
              <a:gd name="connsiteX1" fmla="*/ 43779 w 2194675"/>
              <a:gd name="connsiteY1" fmla="*/ 19792 h 6871449"/>
              <a:gd name="connsiteX2" fmla="*/ 2194675 w 2194675"/>
              <a:gd name="connsiteY2" fmla="*/ 3442450 h 6871449"/>
              <a:gd name="connsiteX3" fmla="*/ 43779 w 2194675"/>
              <a:gd name="connsiteY3" fmla="*/ 6865107 h 6871449"/>
              <a:gd name="connsiteX4" fmla="*/ 29751 w 2194675"/>
              <a:gd name="connsiteY4" fmla="*/ 6871449 h 6871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4675" h="6871449">
                <a:moveTo>
                  <a:pt x="0" y="0"/>
                </a:moveTo>
                <a:lnTo>
                  <a:pt x="43779" y="19792"/>
                </a:lnTo>
                <a:cubicBezTo>
                  <a:pt x="1316444" y="633025"/>
                  <a:pt x="2194675" y="1935178"/>
                  <a:pt x="2194675" y="3442450"/>
                </a:cubicBezTo>
                <a:cubicBezTo>
                  <a:pt x="2194675" y="4949722"/>
                  <a:pt x="1316443" y="6251874"/>
                  <a:pt x="43779" y="6865107"/>
                </a:cubicBezTo>
                <a:lnTo>
                  <a:pt x="29751" y="6871449"/>
                </a:lnTo>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7" name="TextBox 6">
            <a:extLst>
              <a:ext uri="{FF2B5EF4-FFF2-40B4-BE49-F238E27FC236}">
                <a16:creationId xmlns:a16="http://schemas.microsoft.com/office/drawing/2014/main" id="{7ACA3474-53C5-4420-9FC6-EDBE8FA3870C}"/>
              </a:ext>
            </a:extLst>
          </p:cNvPr>
          <p:cNvSpPr txBox="1"/>
          <p:nvPr/>
        </p:nvSpPr>
        <p:spPr>
          <a:xfrm>
            <a:off x="4929808" y="3946650"/>
            <a:ext cx="1272471" cy="430887"/>
          </a:xfrm>
          <a:prstGeom prst="rect">
            <a:avLst/>
          </a:prstGeom>
          <a:noFill/>
        </p:spPr>
        <p:txBody>
          <a:bodyPr wrap="square" lIns="108000" tIns="0" rIns="0" bIns="0" rtlCol="0" anchor="ctr">
            <a:spAutoFit/>
          </a:bodyPr>
          <a:lstStyle/>
          <a:p>
            <a:pPr>
              <a:buSzPct val="100000"/>
              <a:buFont typeface="Trebuchet MS" panose="020B0603020202020204" pitchFamily="34" charset="0"/>
              <a:buChar char="​"/>
            </a:pPr>
            <a:r>
              <a:rPr lang="en-US" sz="2800" dirty="0">
                <a:solidFill>
                  <a:schemeClr val="accent6"/>
                </a:solidFill>
                <a:latin typeface="Trebuchet MS" panose="020B0603020202020204" pitchFamily="34" charset="0"/>
              </a:rPr>
              <a:t>Fair</a:t>
            </a:r>
            <a:endParaRPr lang="en-US" dirty="0">
              <a:solidFill>
                <a:schemeClr val="accent6"/>
              </a:solidFill>
              <a:latin typeface="Trebuchet MS" panose="020B0603020202020204" pitchFamily="34" charset="0"/>
            </a:endParaRPr>
          </a:p>
        </p:txBody>
      </p:sp>
      <p:sp>
        <p:nvSpPr>
          <p:cNvPr id="8" name="TextBox 7">
            <a:extLst>
              <a:ext uri="{FF2B5EF4-FFF2-40B4-BE49-F238E27FC236}">
                <a16:creationId xmlns:a16="http://schemas.microsoft.com/office/drawing/2014/main" id="{1C7BCB77-2F0E-43B5-BCCB-771B4926D6E7}"/>
              </a:ext>
            </a:extLst>
          </p:cNvPr>
          <p:cNvSpPr txBox="1"/>
          <p:nvPr/>
        </p:nvSpPr>
        <p:spPr>
          <a:xfrm>
            <a:off x="4929808" y="936744"/>
            <a:ext cx="2884703" cy="430887"/>
          </a:xfrm>
          <a:prstGeom prst="rect">
            <a:avLst/>
          </a:prstGeom>
          <a:noFill/>
        </p:spPr>
        <p:txBody>
          <a:bodyPr wrap="square" lIns="108000" tIns="0" rIns="0" bIns="0" rtlCol="0" anchor="ctr">
            <a:spAutoFit/>
          </a:bodyPr>
          <a:lstStyle/>
          <a:p>
            <a:pPr>
              <a:buSzPct val="100000"/>
              <a:buFont typeface="Trebuchet MS" panose="020B0603020202020204" pitchFamily="34" charset="0"/>
              <a:buChar char="​"/>
            </a:pPr>
            <a:r>
              <a:rPr lang="en-US" sz="2800" dirty="0">
                <a:solidFill>
                  <a:schemeClr val="tx2"/>
                </a:solidFill>
                <a:latin typeface="Trebuchet MS" panose="020B0603020202020204" pitchFamily="34" charset="0"/>
              </a:rPr>
              <a:t>Strength Based</a:t>
            </a:r>
            <a:endParaRPr lang="en-US" dirty="0">
              <a:solidFill>
                <a:schemeClr val="tx2"/>
              </a:solidFill>
              <a:latin typeface="Trebuchet MS" panose="020B0603020202020204" pitchFamily="34" charset="0"/>
            </a:endParaRPr>
          </a:p>
        </p:txBody>
      </p:sp>
      <p:sp>
        <p:nvSpPr>
          <p:cNvPr id="11" name="Rectangle 10">
            <a:extLst>
              <a:ext uri="{FF2B5EF4-FFF2-40B4-BE49-F238E27FC236}">
                <a16:creationId xmlns:a16="http://schemas.microsoft.com/office/drawing/2014/main" id="{59FD42D6-0B55-41AF-B215-B566E5093DE5}"/>
              </a:ext>
            </a:extLst>
          </p:cNvPr>
          <p:cNvSpPr/>
          <p:nvPr/>
        </p:nvSpPr>
        <p:spPr>
          <a:xfrm>
            <a:off x="161309" y="2644170"/>
            <a:ext cx="5110677" cy="1569660"/>
          </a:xfrm>
          <a:prstGeom prst="rect">
            <a:avLst/>
          </a:prstGeom>
        </p:spPr>
        <p:txBody>
          <a:bodyPr wrap="square">
            <a:spAutoFit/>
          </a:bodyPr>
          <a:lstStyle/>
          <a:p>
            <a:pPr>
              <a:buSzPct val="100000"/>
              <a:buFont typeface="Trebuchet MS" panose="020B0603020202020204" pitchFamily="34" charset="0"/>
              <a:buChar char="​"/>
            </a:pPr>
            <a:r>
              <a:rPr lang="en-US" sz="4800" b="1" dirty="0">
                <a:solidFill>
                  <a:schemeClr val="tx2"/>
                </a:solidFill>
                <a:latin typeface="Trebuchet MS" panose="020B0603020202020204" pitchFamily="34" charset="0"/>
              </a:rPr>
              <a:t>Selection Process</a:t>
            </a:r>
          </a:p>
        </p:txBody>
      </p:sp>
      <p:sp>
        <p:nvSpPr>
          <p:cNvPr id="12" name="TextBox 11">
            <a:extLst>
              <a:ext uri="{FF2B5EF4-FFF2-40B4-BE49-F238E27FC236}">
                <a16:creationId xmlns:a16="http://schemas.microsoft.com/office/drawing/2014/main" id="{B4F8C22E-35FC-49F5-99C8-567DA60CD6DC}"/>
              </a:ext>
            </a:extLst>
          </p:cNvPr>
          <p:cNvSpPr txBox="1"/>
          <p:nvPr/>
        </p:nvSpPr>
        <p:spPr>
          <a:xfrm>
            <a:off x="4929808" y="2441697"/>
            <a:ext cx="2409455" cy="430887"/>
          </a:xfrm>
          <a:prstGeom prst="rect">
            <a:avLst/>
          </a:prstGeom>
          <a:noFill/>
        </p:spPr>
        <p:txBody>
          <a:bodyPr wrap="square" lIns="108000" tIns="0" rIns="0" bIns="0" rtlCol="0" anchor="ctr">
            <a:spAutoFit/>
          </a:bodyPr>
          <a:lstStyle/>
          <a:p>
            <a:pPr>
              <a:buSzPct val="100000"/>
              <a:buFont typeface="Trebuchet MS" panose="020B0603020202020204" pitchFamily="34" charset="0"/>
              <a:buChar char="​"/>
            </a:pPr>
            <a:r>
              <a:rPr lang="en-US" sz="2800" dirty="0">
                <a:solidFill>
                  <a:srgbClr val="2E3558"/>
                </a:solidFill>
                <a:latin typeface="Trebuchet MS" panose="020B0603020202020204" pitchFamily="34" charset="0"/>
              </a:rPr>
              <a:t>Transparent</a:t>
            </a:r>
            <a:endParaRPr lang="en-US" dirty="0">
              <a:solidFill>
                <a:srgbClr val="2E3558"/>
              </a:solidFill>
              <a:latin typeface="Trebuchet MS" panose="020B0603020202020204" pitchFamily="34" charset="0"/>
            </a:endParaRPr>
          </a:p>
        </p:txBody>
      </p:sp>
      <p:cxnSp>
        <p:nvCxnSpPr>
          <p:cNvPr id="13" name="Straight Connector 12">
            <a:extLst>
              <a:ext uri="{FF2B5EF4-FFF2-40B4-BE49-F238E27FC236}">
                <a16:creationId xmlns:a16="http://schemas.microsoft.com/office/drawing/2014/main" id="{E7085A5F-1502-4B08-9DEC-580581833F59}"/>
              </a:ext>
            </a:extLst>
          </p:cNvPr>
          <p:cNvCxnSpPr>
            <a:cxnSpLocks/>
          </p:cNvCxnSpPr>
          <p:nvPr/>
        </p:nvCxnSpPr>
        <p:spPr>
          <a:xfrm flipH="1">
            <a:off x="3742161" y="5667047"/>
            <a:ext cx="1188000" cy="0"/>
          </a:xfrm>
          <a:prstGeom prst="line">
            <a:avLst/>
          </a:prstGeom>
          <a:ln w="9525">
            <a:solidFill>
              <a:schemeClr val="accent4"/>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6ADD8B-FD7E-4A0E-B4B6-FE2B1967D332}"/>
              </a:ext>
            </a:extLst>
          </p:cNvPr>
          <p:cNvCxnSpPr>
            <a:cxnSpLocks/>
          </p:cNvCxnSpPr>
          <p:nvPr/>
        </p:nvCxnSpPr>
        <p:spPr>
          <a:xfrm flipH="1">
            <a:off x="2990754" y="4162094"/>
            <a:ext cx="1939054" cy="0"/>
          </a:xfrm>
          <a:prstGeom prst="line">
            <a:avLst/>
          </a:prstGeom>
          <a:ln w="9525">
            <a:solidFill>
              <a:schemeClr val="accent6"/>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6F62731-8087-43B4-834D-3B1E7EFE6458}"/>
              </a:ext>
            </a:extLst>
          </p:cNvPr>
          <p:cNvCxnSpPr>
            <a:cxnSpLocks/>
          </p:cNvCxnSpPr>
          <p:nvPr/>
        </p:nvCxnSpPr>
        <p:spPr>
          <a:xfrm flipH="1">
            <a:off x="2263774" y="1152187"/>
            <a:ext cx="2666034" cy="0"/>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9522227-5C87-474B-B594-9A0DAAAD17F5}"/>
              </a:ext>
            </a:extLst>
          </p:cNvPr>
          <p:cNvCxnSpPr>
            <a:cxnSpLocks/>
          </p:cNvCxnSpPr>
          <p:nvPr/>
        </p:nvCxnSpPr>
        <p:spPr>
          <a:xfrm flipH="1">
            <a:off x="3693698" y="2657141"/>
            <a:ext cx="1234800" cy="0"/>
          </a:xfrm>
          <a:prstGeom prst="line">
            <a:avLst/>
          </a:prstGeom>
          <a:ln w="9525">
            <a:solidFill>
              <a:srgbClr val="2E3558"/>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473466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72" hidden="1">
            <a:extLst>
              <a:ext uri="{FF2B5EF4-FFF2-40B4-BE49-F238E27FC236}">
                <a16:creationId xmlns:a16="http://schemas.microsoft.com/office/drawing/2014/main" id="{30D022FC-B265-4FED-A377-1F1383B59542}"/>
              </a:ext>
            </a:extLst>
          </p:cNvPr>
          <p:cNvGraphicFramePr>
            <a:graphicFrameLocks noChangeAspect="1"/>
          </p:cNvGraphicFramePr>
          <p:nvPr>
            <p:custDataLst>
              <p:tags r:id="rId2"/>
            </p:custDataLst>
            <p:extLst>
              <p:ext uri="{D42A27DB-BD31-4B8C-83A1-F6EECF244321}">
                <p14:modId xmlns:p14="http://schemas.microsoft.com/office/powerpoint/2010/main" val="329684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2" name="Rectangle 71" hidden="1">
            <a:extLst>
              <a:ext uri="{FF2B5EF4-FFF2-40B4-BE49-F238E27FC236}">
                <a16:creationId xmlns:a16="http://schemas.microsoft.com/office/drawing/2014/main" id="{D1F171AB-73D2-4E83-8020-880E3B770038}"/>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9F1C25F0-1ABF-4014-A4E8-EB414D5B8F36}"/>
              </a:ext>
            </a:extLst>
          </p:cNvPr>
          <p:cNvSpPr>
            <a:spLocks noGrp="1"/>
          </p:cNvSpPr>
          <p:nvPr>
            <p:ph type="title"/>
          </p:nvPr>
        </p:nvSpPr>
        <p:spPr>
          <a:xfrm>
            <a:off x="630000" y="622800"/>
            <a:ext cx="10933350" cy="941796"/>
          </a:xfrm>
        </p:spPr>
        <p:txBody>
          <a:bodyPr/>
          <a:lstStyle/>
          <a:p>
            <a:r>
              <a:rPr lang="en-US" dirty="0"/>
              <a:t>Championship field is filled through multiple selection rounds</a:t>
            </a:r>
          </a:p>
        </p:txBody>
      </p:sp>
      <p:grpSp>
        <p:nvGrpSpPr>
          <p:cNvPr id="71" name="Group 70">
            <a:extLst>
              <a:ext uri="{FF2B5EF4-FFF2-40B4-BE49-F238E27FC236}">
                <a16:creationId xmlns:a16="http://schemas.microsoft.com/office/drawing/2014/main" id="{0CEC3949-D081-405C-A170-3C4A8D0F8F1F}"/>
              </a:ext>
            </a:extLst>
          </p:cNvPr>
          <p:cNvGrpSpPr/>
          <p:nvPr/>
        </p:nvGrpSpPr>
        <p:grpSpPr>
          <a:xfrm>
            <a:off x="2429163" y="1892127"/>
            <a:ext cx="7333676" cy="4458046"/>
            <a:chOff x="1896130" y="1630328"/>
            <a:chExt cx="7333676" cy="4458046"/>
          </a:xfrm>
        </p:grpSpPr>
        <p:grpSp>
          <p:nvGrpSpPr>
            <p:cNvPr id="40" name="Group 39">
              <a:extLst>
                <a:ext uri="{FF2B5EF4-FFF2-40B4-BE49-F238E27FC236}">
                  <a16:creationId xmlns:a16="http://schemas.microsoft.com/office/drawing/2014/main" id="{35613CBF-A446-4EE1-8EB1-698D0F81276F}"/>
                </a:ext>
              </a:extLst>
            </p:cNvPr>
            <p:cNvGrpSpPr/>
            <p:nvPr/>
          </p:nvGrpSpPr>
          <p:grpSpPr>
            <a:xfrm>
              <a:off x="1896130" y="1630328"/>
              <a:ext cx="553975" cy="4458046"/>
              <a:chOff x="261131" y="1630328"/>
              <a:chExt cx="553975" cy="4458046"/>
            </a:xfrm>
          </p:grpSpPr>
          <p:cxnSp>
            <p:nvCxnSpPr>
              <p:cNvPr id="22" name="Straight Connector 21">
                <a:extLst>
                  <a:ext uri="{FF2B5EF4-FFF2-40B4-BE49-F238E27FC236}">
                    <a16:creationId xmlns:a16="http://schemas.microsoft.com/office/drawing/2014/main" id="{82F948C8-A90C-4485-909A-75A39E413340}"/>
                  </a:ext>
                </a:extLst>
              </p:cNvPr>
              <p:cNvCxnSpPr>
                <a:cxnSpLocks/>
              </p:cNvCxnSpPr>
              <p:nvPr/>
            </p:nvCxnSpPr>
            <p:spPr>
              <a:xfrm flipV="1">
                <a:off x="815106" y="1630328"/>
                <a:ext cx="0" cy="4458046"/>
              </a:xfrm>
              <a:prstGeom prst="line">
                <a:avLst/>
              </a:prstGeom>
              <a:ln w="38100" cap="rnd">
                <a:solidFill>
                  <a:schemeClr val="accent5"/>
                </a:solidFill>
                <a:prstDash val="solid"/>
                <a:head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994E56C-8D58-47AD-A711-DEAD95AE02AB}"/>
                  </a:ext>
                </a:extLst>
              </p:cNvPr>
              <p:cNvSpPr txBox="1"/>
              <p:nvPr/>
            </p:nvSpPr>
            <p:spPr>
              <a:xfrm>
                <a:off x="261131" y="1702560"/>
                <a:ext cx="467138" cy="43135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Increasing Championship Field Size</a:t>
                </a:r>
              </a:p>
            </p:txBody>
          </p:sp>
        </p:grpSp>
        <p:sp>
          <p:nvSpPr>
            <p:cNvPr id="56" name="Freeform 26">
              <a:extLst>
                <a:ext uri="{FF2B5EF4-FFF2-40B4-BE49-F238E27FC236}">
                  <a16:creationId xmlns:a16="http://schemas.microsoft.com/office/drawing/2014/main" id="{AC81CF7C-8B4D-494F-BDC8-C5C382C2AEC4}"/>
                </a:ext>
              </a:extLst>
            </p:cNvPr>
            <p:cNvSpPr/>
            <p:nvPr/>
          </p:nvSpPr>
          <p:spPr>
            <a:xfrm>
              <a:off x="2887333" y="1633644"/>
              <a:ext cx="748876" cy="818466"/>
            </a:xfrm>
            <a:custGeom>
              <a:avLst/>
              <a:gdLst>
                <a:gd name="connsiteX0" fmla="*/ 0 w 748876"/>
                <a:gd name="connsiteY0" fmla="*/ 0 h 818466"/>
                <a:gd name="connsiteX1" fmla="*/ 748876 w 748876"/>
                <a:gd name="connsiteY1" fmla="*/ 818466 h 818466"/>
                <a:gd name="connsiteX2" fmla="*/ 0 w 748876"/>
                <a:gd name="connsiteY2" fmla="*/ 818466 h 818466"/>
                <a:gd name="connsiteX3" fmla="*/ 0 w 748876"/>
                <a:gd name="connsiteY3" fmla="*/ 0 h 818466"/>
              </a:gdLst>
              <a:ahLst/>
              <a:cxnLst>
                <a:cxn ang="0">
                  <a:pos x="connsiteX0" y="connsiteY0"/>
                </a:cxn>
                <a:cxn ang="0">
                  <a:pos x="connsiteX1" y="connsiteY1"/>
                </a:cxn>
                <a:cxn ang="0">
                  <a:pos x="connsiteX2" y="connsiteY2"/>
                </a:cxn>
                <a:cxn ang="0">
                  <a:pos x="connsiteX3" y="connsiteY3"/>
                </a:cxn>
              </a:cxnLst>
              <a:rect l="l" t="t" r="r" b="b"/>
              <a:pathLst>
                <a:path w="748876" h="818466">
                  <a:moveTo>
                    <a:pt x="0" y="0"/>
                  </a:moveTo>
                  <a:lnTo>
                    <a:pt x="748876" y="818466"/>
                  </a:lnTo>
                  <a:lnTo>
                    <a:pt x="0" y="818466"/>
                  </a:lnTo>
                  <a:lnTo>
                    <a:pt x="0" y="0"/>
                  </a:lnTo>
                  <a:close/>
                </a:path>
              </a:pathLst>
            </a:cu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ct val="90000"/>
                </a:lnSpc>
                <a:spcAft>
                  <a:spcPts val="1000"/>
                </a:spcAft>
              </a:pPr>
              <a:r>
                <a:rPr lang="en-US" sz="1200" dirty="0">
                  <a:solidFill>
                    <a:srgbClr val="FFFFFF"/>
                  </a:solidFill>
                </a:rPr>
                <a:t>R1</a:t>
              </a:r>
            </a:p>
          </p:txBody>
        </p:sp>
        <p:sp>
          <p:nvSpPr>
            <p:cNvPr id="57" name="Freeform 23">
              <a:extLst>
                <a:ext uri="{FF2B5EF4-FFF2-40B4-BE49-F238E27FC236}">
                  <a16:creationId xmlns:a16="http://schemas.microsoft.com/office/drawing/2014/main" id="{0BACE647-51F4-497F-8249-39F98BAF529A}"/>
                </a:ext>
              </a:extLst>
            </p:cNvPr>
            <p:cNvSpPr/>
            <p:nvPr/>
          </p:nvSpPr>
          <p:spPr>
            <a:xfrm>
              <a:off x="2887333" y="2542710"/>
              <a:ext cx="1580650" cy="818466"/>
            </a:xfrm>
            <a:custGeom>
              <a:avLst/>
              <a:gdLst>
                <a:gd name="connsiteX0" fmla="*/ 0 w 1580650"/>
                <a:gd name="connsiteY0" fmla="*/ 0 h 818466"/>
                <a:gd name="connsiteX1" fmla="*/ 831773 w 1580650"/>
                <a:gd name="connsiteY1" fmla="*/ 0 h 818466"/>
                <a:gd name="connsiteX2" fmla="*/ 1580650 w 1580650"/>
                <a:gd name="connsiteY2" fmla="*/ 818466 h 818466"/>
                <a:gd name="connsiteX3" fmla="*/ 0 w 1580650"/>
                <a:gd name="connsiteY3" fmla="*/ 818466 h 818466"/>
                <a:gd name="connsiteX4" fmla="*/ 0 w 1580650"/>
                <a:gd name="connsiteY4" fmla="*/ 0 h 8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650" h="818466">
                  <a:moveTo>
                    <a:pt x="0" y="0"/>
                  </a:moveTo>
                  <a:lnTo>
                    <a:pt x="831773" y="0"/>
                  </a:lnTo>
                  <a:lnTo>
                    <a:pt x="1580650" y="818466"/>
                  </a:lnTo>
                  <a:lnTo>
                    <a:pt x="0" y="818466"/>
                  </a:lnTo>
                  <a:lnTo>
                    <a:pt x="0" y="0"/>
                  </a:lnTo>
                  <a:close/>
                </a:path>
              </a:pathLst>
            </a:cu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200" dirty="0">
                  <a:solidFill>
                    <a:srgbClr val="FFFFFF"/>
                  </a:solidFill>
                </a:rPr>
                <a:t>R2</a:t>
              </a:r>
            </a:p>
          </p:txBody>
        </p:sp>
        <p:sp>
          <p:nvSpPr>
            <p:cNvPr id="58" name="Freeform 20">
              <a:extLst>
                <a:ext uri="{FF2B5EF4-FFF2-40B4-BE49-F238E27FC236}">
                  <a16:creationId xmlns:a16="http://schemas.microsoft.com/office/drawing/2014/main" id="{CFA327EC-DC61-4F73-9DDD-906F2C0D053A}"/>
                </a:ext>
              </a:extLst>
            </p:cNvPr>
            <p:cNvSpPr/>
            <p:nvPr/>
          </p:nvSpPr>
          <p:spPr>
            <a:xfrm>
              <a:off x="2887333" y="3451776"/>
              <a:ext cx="2412423" cy="818466"/>
            </a:xfrm>
            <a:custGeom>
              <a:avLst/>
              <a:gdLst>
                <a:gd name="connsiteX0" fmla="*/ 0 w 2412423"/>
                <a:gd name="connsiteY0" fmla="*/ 0 h 818466"/>
                <a:gd name="connsiteX1" fmla="*/ 1663546 w 2412423"/>
                <a:gd name="connsiteY1" fmla="*/ 0 h 818466"/>
                <a:gd name="connsiteX2" fmla="*/ 2412423 w 2412423"/>
                <a:gd name="connsiteY2" fmla="*/ 818466 h 818466"/>
                <a:gd name="connsiteX3" fmla="*/ 0 w 2412423"/>
                <a:gd name="connsiteY3" fmla="*/ 818466 h 818466"/>
                <a:gd name="connsiteX4" fmla="*/ 0 w 2412423"/>
                <a:gd name="connsiteY4" fmla="*/ 0 h 8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423" h="818466">
                  <a:moveTo>
                    <a:pt x="0" y="0"/>
                  </a:moveTo>
                  <a:lnTo>
                    <a:pt x="1663546" y="0"/>
                  </a:lnTo>
                  <a:lnTo>
                    <a:pt x="2412423" y="818466"/>
                  </a:lnTo>
                  <a:lnTo>
                    <a:pt x="0" y="818466"/>
                  </a:lnTo>
                  <a:lnTo>
                    <a:pt x="0" y="0"/>
                  </a:lnTo>
                  <a:close/>
                </a:path>
              </a:pathLst>
            </a:cu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200" dirty="0">
                  <a:solidFill>
                    <a:srgbClr val="FFFFFF"/>
                  </a:solidFill>
                </a:rPr>
                <a:t>R3</a:t>
              </a:r>
            </a:p>
          </p:txBody>
        </p:sp>
        <p:sp>
          <p:nvSpPr>
            <p:cNvPr id="59" name="Freeform 17">
              <a:extLst>
                <a:ext uri="{FF2B5EF4-FFF2-40B4-BE49-F238E27FC236}">
                  <a16:creationId xmlns:a16="http://schemas.microsoft.com/office/drawing/2014/main" id="{60EDB848-17E7-4B52-9C79-39B2C6DF94D9}"/>
                </a:ext>
              </a:extLst>
            </p:cNvPr>
            <p:cNvSpPr/>
            <p:nvPr/>
          </p:nvSpPr>
          <p:spPr>
            <a:xfrm>
              <a:off x="2887333" y="4360842"/>
              <a:ext cx="3244196" cy="818466"/>
            </a:xfrm>
            <a:custGeom>
              <a:avLst/>
              <a:gdLst>
                <a:gd name="connsiteX0" fmla="*/ 0 w 3244196"/>
                <a:gd name="connsiteY0" fmla="*/ 0 h 818466"/>
                <a:gd name="connsiteX1" fmla="*/ 2495320 w 3244196"/>
                <a:gd name="connsiteY1" fmla="*/ 0 h 818466"/>
                <a:gd name="connsiteX2" fmla="*/ 3244196 w 3244196"/>
                <a:gd name="connsiteY2" fmla="*/ 818466 h 818466"/>
                <a:gd name="connsiteX3" fmla="*/ 0 w 3244196"/>
                <a:gd name="connsiteY3" fmla="*/ 818466 h 818466"/>
                <a:gd name="connsiteX4" fmla="*/ 0 w 3244196"/>
                <a:gd name="connsiteY4" fmla="*/ 0 h 8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4196" h="818466">
                  <a:moveTo>
                    <a:pt x="0" y="0"/>
                  </a:moveTo>
                  <a:lnTo>
                    <a:pt x="2495320" y="0"/>
                  </a:lnTo>
                  <a:lnTo>
                    <a:pt x="3244196" y="818466"/>
                  </a:lnTo>
                  <a:lnTo>
                    <a:pt x="0" y="818466"/>
                  </a:lnTo>
                  <a:lnTo>
                    <a:pt x="0" y="0"/>
                  </a:lnTo>
                  <a:close/>
                </a:path>
              </a:pathLst>
            </a:cu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200" dirty="0">
                  <a:solidFill>
                    <a:srgbClr val="FFFFFF"/>
                  </a:solidFill>
                </a:rPr>
                <a:t>R4</a:t>
              </a:r>
            </a:p>
          </p:txBody>
        </p:sp>
        <p:sp>
          <p:nvSpPr>
            <p:cNvPr id="60" name="Freeform 14">
              <a:extLst>
                <a:ext uri="{FF2B5EF4-FFF2-40B4-BE49-F238E27FC236}">
                  <a16:creationId xmlns:a16="http://schemas.microsoft.com/office/drawing/2014/main" id="{C063997E-890E-4F9B-B7CA-AA3350230BFA}"/>
                </a:ext>
              </a:extLst>
            </p:cNvPr>
            <p:cNvSpPr/>
            <p:nvPr/>
          </p:nvSpPr>
          <p:spPr>
            <a:xfrm>
              <a:off x="2887333" y="5269908"/>
              <a:ext cx="4075969" cy="818466"/>
            </a:xfrm>
            <a:custGeom>
              <a:avLst/>
              <a:gdLst>
                <a:gd name="connsiteX0" fmla="*/ 0 w 4075969"/>
                <a:gd name="connsiteY0" fmla="*/ 0 h 818466"/>
                <a:gd name="connsiteX1" fmla="*/ 3327093 w 4075969"/>
                <a:gd name="connsiteY1" fmla="*/ 0 h 818466"/>
                <a:gd name="connsiteX2" fmla="*/ 4075969 w 4075969"/>
                <a:gd name="connsiteY2" fmla="*/ 818466 h 818466"/>
                <a:gd name="connsiteX3" fmla="*/ 0 w 4075969"/>
                <a:gd name="connsiteY3" fmla="*/ 818466 h 818466"/>
                <a:gd name="connsiteX4" fmla="*/ 0 w 4075969"/>
                <a:gd name="connsiteY4" fmla="*/ 0 h 8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5969" h="818466">
                  <a:moveTo>
                    <a:pt x="0" y="0"/>
                  </a:moveTo>
                  <a:lnTo>
                    <a:pt x="3327093" y="0"/>
                  </a:lnTo>
                  <a:lnTo>
                    <a:pt x="4075969" y="818466"/>
                  </a:lnTo>
                  <a:lnTo>
                    <a:pt x="0" y="818466"/>
                  </a:lnTo>
                  <a:lnTo>
                    <a:pt x="0" y="0"/>
                  </a:lnTo>
                  <a:close/>
                </a:path>
              </a:pathLst>
            </a:cu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200" dirty="0">
                  <a:solidFill>
                    <a:srgbClr val="FFFFFF"/>
                  </a:solidFill>
                </a:rPr>
                <a:t>RX</a:t>
              </a:r>
            </a:p>
          </p:txBody>
        </p:sp>
        <p:cxnSp>
          <p:nvCxnSpPr>
            <p:cNvPr id="61" name="Straight Connector 60">
              <a:extLst>
                <a:ext uri="{FF2B5EF4-FFF2-40B4-BE49-F238E27FC236}">
                  <a16:creationId xmlns:a16="http://schemas.microsoft.com/office/drawing/2014/main" id="{BA9E6948-38C9-4FDB-928B-FAC86AD94A6C}"/>
                </a:ext>
              </a:extLst>
            </p:cNvPr>
            <p:cNvCxnSpPr>
              <a:cxnSpLocks/>
            </p:cNvCxnSpPr>
            <p:nvPr/>
          </p:nvCxnSpPr>
          <p:spPr>
            <a:xfrm flipH="1">
              <a:off x="4720534" y="3772111"/>
              <a:ext cx="525946" cy="0"/>
            </a:xfrm>
            <a:prstGeom prst="line">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F6C48A8-1343-4582-B756-1EC8AE6FC5C4}"/>
                </a:ext>
              </a:extLst>
            </p:cNvPr>
            <p:cNvCxnSpPr/>
            <p:nvPr/>
          </p:nvCxnSpPr>
          <p:spPr>
            <a:xfrm flipH="1">
              <a:off x="3068655" y="1973031"/>
              <a:ext cx="457200" cy="0"/>
            </a:xfrm>
            <a:prstGeom prst="line">
              <a:avLst/>
            </a:prstGeom>
            <a:ln w="9525">
              <a:solidFill>
                <a:schemeClr val="tx1"/>
              </a:solidFill>
              <a:headEnd type="none" w="med" len="med"/>
              <a:tailEnd type="oval" w="sm" len="sm"/>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F3DF1AD-E0A0-43B8-99F6-06965847C88D}"/>
                </a:ext>
              </a:extLst>
            </p:cNvPr>
            <p:cNvCxnSpPr>
              <a:cxnSpLocks/>
            </p:cNvCxnSpPr>
            <p:nvPr/>
          </p:nvCxnSpPr>
          <p:spPr>
            <a:xfrm flipH="1">
              <a:off x="3827300" y="2820712"/>
              <a:ext cx="563832" cy="0"/>
            </a:xfrm>
            <a:prstGeom prst="line">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FCDB001-7DD2-48D2-9B32-42BE54223CA1}"/>
                </a:ext>
              </a:extLst>
            </p:cNvPr>
            <p:cNvCxnSpPr>
              <a:cxnSpLocks/>
            </p:cNvCxnSpPr>
            <p:nvPr/>
          </p:nvCxnSpPr>
          <p:spPr>
            <a:xfrm flipH="1">
              <a:off x="5465600" y="4617675"/>
              <a:ext cx="601874" cy="0"/>
            </a:xfrm>
            <a:prstGeom prst="line">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FB185AD-0909-4648-BF19-AD22672B6444}"/>
                </a:ext>
              </a:extLst>
            </p:cNvPr>
            <p:cNvCxnSpPr>
              <a:cxnSpLocks/>
            </p:cNvCxnSpPr>
            <p:nvPr/>
          </p:nvCxnSpPr>
          <p:spPr>
            <a:xfrm flipH="1">
              <a:off x="6337667" y="5598708"/>
              <a:ext cx="558201" cy="0"/>
            </a:xfrm>
            <a:prstGeom prst="line">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6E9F0B9E-49BC-4603-94B3-810A95837470}"/>
                </a:ext>
              </a:extLst>
            </p:cNvPr>
            <p:cNvSpPr/>
            <p:nvPr/>
          </p:nvSpPr>
          <p:spPr>
            <a:xfrm>
              <a:off x="3534491" y="1867353"/>
              <a:ext cx="3499470" cy="400110"/>
            </a:xfrm>
            <a:prstGeom prst="rect">
              <a:avLst/>
            </a:prstGeom>
          </p:spPr>
          <p:txBody>
            <a:bodyPr wrap="none" lIns="108000" tIns="0" rIns="0" bIns="0" anchor="ctr" anchorCtr="0">
              <a:spAutoFit/>
            </a:bodyPr>
            <a:lstStyle/>
            <a:p>
              <a:pPr>
                <a:buSzPct val="100000"/>
                <a:buFont typeface="Trebuchet MS" panose="020B0603020202020204" pitchFamily="34" charset="0"/>
                <a:buChar char="​"/>
                <a:defRPr/>
              </a:pPr>
              <a:r>
                <a:rPr lang="en-US" altLang="zh-CN" sz="1400" dirty="0">
                  <a:solidFill>
                    <a:srgbClr val="29BA74"/>
                  </a:solidFill>
                  <a:latin typeface="Trebuchet MS" panose="020B0603020202020204" pitchFamily="34" charset="0"/>
                  <a:cs typeface="Arial" panose="020B0604020202020204" pitchFamily="34" charset="0"/>
                </a:rPr>
                <a:t>Round 1</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cs typeface="Arial" panose="020B0604020202020204" pitchFamily="34" charset="0"/>
                </a:rPr>
                <a:t>Top 2 teams from conference championships</a:t>
              </a:r>
            </a:p>
          </p:txBody>
        </p:sp>
        <p:sp>
          <p:nvSpPr>
            <p:cNvPr id="67" name="Rectangle 66">
              <a:extLst>
                <a:ext uri="{FF2B5EF4-FFF2-40B4-BE49-F238E27FC236}">
                  <a16:creationId xmlns:a16="http://schemas.microsoft.com/office/drawing/2014/main" id="{F0B34913-F127-435E-9936-E4FE20830AB4}"/>
                </a:ext>
              </a:extLst>
            </p:cNvPr>
            <p:cNvSpPr/>
            <p:nvPr/>
          </p:nvSpPr>
          <p:spPr>
            <a:xfrm>
              <a:off x="4403054" y="2703135"/>
              <a:ext cx="3762491" cy="584775"/>
            </a:xfrm>
            <a:prstGeom prst="rect">
              <a:avLst/>
            </a:prstGeom>
          </p:spPr>
          <p:txBody>
            <a:bodyPr wrap="none" lIns="108000" tIns="0" rIns="0" bIns="0" anchor="ctr" anchorCtr="0">
              <a:spAutoFit/>
            </a:bodyPr>
            <a:lstStyle/>
            <a:p>
              <a:pPr>
                <a:buSzPct val="100000"/>
                <a:buFont typeface="Trebuchet MS" panose="020B0603020202020204" pitchFamily="34" charset="0"/>
                <a:buChar char="​"/>
                <a:defRPr/>
              </a:pPr>
              <a:r>
                <a:rPr lang="en-US" altLang="zh-CN" sz="1400" dirty="0">
                  <a:solidFill>
                    <a:srgbClr val="29BA74"/>
                  </a:solidFill>
                  <a:latin typeface="Trebuchet MS" panose="020B0603020202020204" pitchFamily="34" charset="0"/>
                  <a:cs typeface="Arial" panose="020B0604020202020204" pitchFamily="34" charset="0"/>
                </a:rPr>
                <a:t>Round 2</a:t>
              </a:r>
            </a:p>
            <a:p>
              <a:pPr marL="324000" lvl="1" indent="-216000">
                <a:buClr>
                  <a:schemeClr val="tx2">
                    <a:lumMod val="100000"/>
                  </a:schemeClr>
                </a:buClr>
                <a:buSzPct val="100000"/>
                <a:buFont typeface="Trebuchet MS" panose="020B0603020202020204" pitchFamily="34" charset="0"/>
                <a:buChar char="•"/>
                <a:defRPr/>
              </a:pPr>
              <a:r>
                <a:rPr lang="en-US" altLang="zh-CN" sz="1200" dirty="0">
                  <a:solidFill>
                    <a:schemeClr val="tx1">
                      <a:lumMod val="100000"/>
                    </a:schemeClr>
                  </a:solidFill>
                  <a:latin typeface="Trebuchet MS" panose="020B0603020202020204" pitchFamily="34" charset="0"/>
                  <a:cs typeface="Arial" panose="020B0604020202020204" pitchFamily="34" charset="0"/>
                </a:rPr>
                <a:t>Direct selection to championship field</a:t>
              </a:r>
            </a:p>
            <a:p>
              <a:pPr marL="324000" lvl="1" indent="-216000">
                <a:buClr>
                  <a:schemeClr val="tx2">
                    <a:lumMod val="100000"/>
                  </a:schemeClr>
                </a:buClr>
                <a:buSzPct val="100000"/>
                <a:buFont typeface="Trebuchet MS" panose="020B0603020202020204" pitchFamily="34" charset="0"/>
                <a:buChar char="•"/>
                <a:defRPr/>
              </a:pPr>
              <a:r>
                <a:rPr lang="en-US" altLang="zh-CN" sz="1200" dirty="0">
                  <a:solidFill>
                    <a:schemeClr val="tx1">
                      <a:lumMod val="100000"/>
                    </a:schemeClr>
                  </a:solidFill>
                  <a:latin typeface="Trebuchet MS" panose="020B0603020202020204" pitchFamily="34" charset="0"/>
                  <a:cs typeface="Arial" panose="020B0604020202020204" pitchFamily="34" charset="0"/>
                </a:rPr>
                <a:t>Requires 80% of votes from committee members</a:t>
              </a:r>
            </a:p>
          </p:txBody>
        </p:sp>
        <p:sp>
          <p:nvSpPr>
            <p:cNvPr id="68" name="Rectangle 67">
              <a:extLst>
                <a:ext uri="{FF2B5EF4-FFF2-40B4-BE49-F238E27FC236}">
                  <a16:creationId xmlns:a16="http://schemas.microsoft.com/office/drawing/2014/main" id="{954565B0-17E9-4891-AD7A-9983FAEFE701}"/>
                </a:ext>
              </a:extLst>
            </p:cNvPr>
            <p:cNvSpPr/>
            <p:nvPr/>
          </p:nvSpPr>
          <p:spPr>
            <a:xfrm>
              <a:off x="5258026" y="3658767"/>
              <a:ext cx="3406432" cy="584775"/>
            </a:xfrm>
            <a:prstGeom prst="rect">
              <a:avLst/>
            </a:prstGeom>
          </p:spPr>
          <p:txBody>
            <a:bodyPr wrap="square" lIns="108000" tIns="0" rIns="0" bIns="0" anchor="ctr" anchorCtr="0">
              <a:spAutoFit/>
            </a:bodyPr>
            <a:lstStyle/>
            <a:p>
              <a:pPr>
                <a:buSzPct val="100000"/>
                <a:buFont typeface="Trebuchet MS" panose="020B0603020202020204" pitchFamily="34" charset="0"/>
                <a:buChar char="​"/>
                <a:defRPr/>
              </a:pPr>
              <a:r>
                <a:rPr lang="en-US" altLang="zh-CN" sz="1400" dirty="0">
                  <a:solidFill>
                    <a:srgbClr val="29BA74"/>
                  </a:solidFill>
                  <a:latin typeface="Trebuchet MS" panose="020B0603020202020204" pitchFamily="34" charset="0"/>
                  <a:cs typeface="Arial" panose="020B0604020202020204" pitchFamily="34" charset="0"/>
                </a:rPr>
                <a:t>Round 3</a:t>
              </a:r>
            </a:p>
            <a:p>
              <a:pPr marL="324000" lvl="1" indent="-216000">
                <a:buClr>
                  <a:schemeClr val="tx2">
                    <a:lumMod val="100000"/>
                  </a:schemeClr>
                </a:buClr>
                <a:buSzPct val="100000"/>
                <a:buFont typeface="Trebuchet MS" panose="020B0603020202020204" pitchFamily="34" charset="0"/>
                <a:buChar char="•"/>
                <a:defRPr/>
              </a:pPr>
              <a:r>
                <a:rPr lang="en-US" altLang="zh-CN" sz="1200" dirty="0">
                  <a:solidFill>
                    <a:schemeClr val="tx1">
                      <a:lumMod val="100000"/>
                    </a:schemeClr>
                  </a:solidFill>
                  <a:latin typeface="Trebuchet MS" panose="020B0603020202020204" pitchFamily="34" charset="0"/>
                  <a:cs typeface="Arial" panose="020B0604020202020204" pitchFamily="34" charset="0"/>
                </a:rPr>
                <a:t>Structured by CSR</a:t>
              </a:r>
            </a:p>
            <a:p>
              <a:pPr marL="324000" lvl="1" indent="-216000">
                <a:buClr>
                  <a:schemeClr val="tx2">
                    <a:lumMod val="100000"/>
                  </a:schemeClr>
                </a:buClr>
                <a:buSzPct val="100000"/>
                <a:buFont typeface="Trebuchet MS" panose="020B0603020202020204" pitchFamily="34" charset="0"/>
                <a:buChar char="•"/>
                <a:defRPr/>
              </a:pPr>
              <a:r>
                <a:rPr lang="en-US" altLang="zh-CN" sz="1200" dirty="0">
                  <a:solidFill>
                    <a:schemeClr val="tx1">
                      <a:lumMod val="100000"/>
                    </a:schemeClr>
                  </a:solidFill>
                  <a:latin typeface="Trebuchet MS" panose="020B0603020202020204" pitchFamily="34" charset="0"/>
                  <a:cs typeface="Arial" panose="020B0604020202020204" pitchFamily="34" charset="0"/>
                </a:rPr>
                <a:t>Fills 2/3 of remaining berths</a:t>
              </a:r>
            </a:p>
          </p:txBody>
        </p:sp>
        <p:sp>
          <p:nvSpPr>
            <p:cNvPr id="69" name="Rectangle 68">
              <a:extLst>
                <a:ext uri="{FF2B5EF4-FFF2-40B4-BE49-F238E27FC236}">
                  <a16:creationId xmlns:a16="http://schemas.microsoft.com/office/drawing/2014/main" id="{5CACEBC5-5CBE-4AAE-9EA7-58C7A4C685C9}"/>
                </a:ext>
              </a:extLst>
            </p:cNvPr>
            <p:cNvSpPr/>
            <p:nvPr/>
          </p:nvSpPr>
          <p:spPr>
            <a:xfrm>
              <a:off x="6081265" y="4511997"/>
              <a:ext cx="3148541" cy="400110"/>
            </a:xfrm>
            <a:prstGeom prst="rect">
              <a:avLst/>
            </a:prstGeom>
          </p:spPr>
          <p:txBody>
            <a:bodyPr wrap="none" lIns="108000" tIns="0" rIns="0" bIns="0" anchor="ctr" anchorCtr="0">
              <a:spAutoFit/>
            </a:bodyPr>
            <a:lstStyle/>
            <a:p>
              <a:pPr>
                <a:buSzPct val="100000"/>
                <a:buFont typeface="Trebuchet MS" panose="020B0603020202020204" pitchFamily="34" charset="0"/>
                <a:buChar char="​"/>
                <a:defRPr/>
              </a:pPr>
              <a:r>
                <a:rPr lang="en-US" altLang="zh-CN" sz="1400" dirty="0">
                  <a:solidFill>
                    <a:srgbClr val="29BA74"/>
                  </a:solidFill>
                  <a:latin typeface="Trebuchet MS" panose="020B0603020202020204" pitchFamily="34" charset="0"/>
                  <a:cs typeface="Arial" panose="020B0604020202020204" pitchFamily="34" charset="0"/>
                </a:rPr>
                <a:t>Round 4</a:t>
              </a:r>
            </a:p>
            <a:p>
              <a:pPr marL="324000" lvl="1" indent="-216000">
                <a:buClr>
                  <a:schemeClr val="tx2">
                    <a:lumMod val="100000"/>
                  </a:schemeClr>
                </a:buClr>
                <a:buSzPct val="100000"/>
                <a:buFont typeface="Trebuchet MS" panose="020B0603020202020204" pitchFamily="34" charset="0"/>
                <a:buChar char="•"/>
                <a:defRPr/>
              </a:pPr>
              <a:r>
                <a:rPr lang="en-US" altLang="zh-CN" sz="1200" dirty="0">
                  <a:solidFill>
                    <a:schemeClr val="tx1">
                      <a:lumMod val="100000"/>
                    </a:schemeClr>
                  </a:solidFill>
                  <a:latin typeface="Trebuchet MS" panose="020B0603020202020204" pitchFamily="34" charset="0"/>
                  <a:cs typeface="Arial" panose="020B0604020202020204" pitchFamily="34" charset="0"/>
                </a:rPr>
                <a:t>Reduced number of berths are selected</a:t>
              </a:r>
            </a:p>
          </p:txBody>
        </p:sp>
        <p:sp>
          <p:nvSpPr>
            <p:cNvPr id="70" name="Rectangle 69">
              <a:extLst>
                <a:ext uri="{FF2B5EF4-FFF2-40B4-BE49-F238E27FC236}">
                  <a16:creationId xmlns:a16="http://schemas.microsoft.com/office/drawing/2014/main" id="{786F505C-D999-490F-A2A8-742CF90E9BE4}"/>
                </a:ext>
              </a:extLst>
            </p:cNvPr>
            <p:cNvSpPr/>
            <p:nvPr/>
          </p:nvSpPr>
          <p:spPr>
            <a:xfrm>
              <a:off x="6911937" y="5484564"/>
              <a:ext cx="1742515" cy="400110"/>
            </a:xfrm>
            <a:prstGeom prst="rect">
              <a:avLst/>
            </a:prstGeom>
          </p:spPr>
          <p:txBody>
            <a:bodyPr wrap="none" lIns="108000" tIns="0" rIns="0" bIns="0" anchor="ctr" anchorCtr="0">
              <a:spAutoFit/>
            </a:bodyPr>
            <a:lstStyle/>
            <a:p>
              <a:pPr>
                <a:buSzPct val="100000"/>
                <a:buFont typeface="Trebuchet MS" panose="020B0603020202020204" pitchFamily="34" charset="0"/>
                <a:buChar char="​"/>
                <a:defRPr/>
              </a:pPr>
              <a:r>
                <a:rPr lang="en-US" altLang="zh-CN" sz="1400" dirty="0">
                  <a:solidFill>
                    <a:srgbClr val="29BA74"/>
                  </a:solidFill>
                  <a:latin typeface="Trebuchet MS" panose="020B0603020202020204" pitchFamily="34" charset="0"/>
                  <a:cs typeface="Arial" panose="020B0604020202020204" pitchFamily="34" charset="0"/>
                </a:rPr>
                <a:t>Round X</a:t>
              </a:r>
            </a:p>
            <a:p>
              <a:pPr marL="324000" lvl="1" indent="-216000">
                <a:buClr>
                  <a:schemeClr val="tx2">
                    <a:lumMod val="100000"/>
                  </a:schemeClr>
                </a:buClr>
                <a:buSzPct val="100000"/>
                <a:buFont typeface="Trebuchet MS" panose="020B0603020202020204" pitchFamily="34" charset="0"/>
                <a:buChar char="•"/>
                <a:defRPr/>
              </a:pPr>
              <a:r>
                <a:rPr lang="en-US" altLang="zh-CN" sz="1200" dirty="0">
                  <a:solidFill>
                    <a:schemeClr val="tx1">
                      <a:lumMod val="100000"/>
                    </a:schemeClr>
                  </a:solidFill>
                  <a:latin typeface="Trebuchet MS" panose="020B0603020202020204" pitchFamily="34" charset="0"/>
                  <a:cs typeface="Arial" panose="020B0604020202020204" pitchFamily="34" charset="0"/>
                </a:rPr>
                <a:t>Final berth is filled</a:t>
              </a:r>
            </a:p>
          </p:txBody>
        </p:sp>
      </p:grpSp>
      <p:grpSp>
        <p:nvGrpSpPr>
          <p:cNvPr id="74" name="Group 73">
            <a:extLst>
              <a:ext uri="{FF2B5EF4-FFF2-40B4-BE49-F238E27FC236}">
                <a16:creationId xmlns:a16="http://schemas.microsoft.com/office/drawing/2014/main" id="{5FA6A672-26E5-43D7-877A-BAD94FF4F53C}"/>
              </a:ext>
            </a:extLst>
          </p:cNvPr>
          <p:cNvGrpSpPr/>
          <p:nvPr/>
        </p:nvGrpSpPr>
        <p:grpSpPr>
          <a:xfrm>
            <a:off x="4936087" y="3400823"/>
            <a:ext cx="6883377" cy="553987"/>
            <a:chOff x="4407218" y="3132126"/>
            <a:chExt cx="3733459" cy="553987"/>
          </a:xfrm>
        </p:grpSpPr>
        <p:cxnSp>
          <p:nvCxnSpPr>
            <p:cNvPr id="75" name="Straight Connector 74">
              <a:extLst>
                <a:ext uri="{FF2B5EF4-FFF2-40B4-BE49-F238E27FC236}">
                  <a16:creationId xmlns:a16="http://schemas.microsoft.com/office/drawing/2014/main" id="{02143810-10E1-4BD7-9F8B-E4CF254757A4}"/>
                </a:ext>
              </a:extLst>
            </p:cNvPr>
            <p:cNvCxnSpPr>
              <a:cxnSpLocks/>
            </p:cNvCxnSpPr>
            <p:nvPr/>
          </p:nvCxnSpPr>
          <p:spPr>
            <a:xfrm>
              <a:off x="4407218" y="3409120"/>
              <a:ext cx="2476392" cy="0"/>
            </a:xfrm>
            <a:prstGeom prst="line">
              <a:avLst/>
            </a:prstGeom>
            <a:ln w="19050" cap="rnd">
              <a:solidFill>
                <a:srgbClr val="E71C57"/>
              </a:solidFill>
              <a:headEnd type="oval" w="med" len="med"/>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4603957D-93EE-4BFD-A470-D6F9A99354E9}"/>
                </a:ext>
              </a:extLst>
            </p:cNvPr>
            <p:cNvSpPr/>
            <p:nvPr/>
          </p:nvSpPr>
          <p:spPr>
            <a:xfrm>
              <a:off x="6883610" y="3132126"/>
              <a:ext cx="1257067" cy="553987"/>
            </a:xfrm>
            <a:prstGeom prst="rect">
              <a:avLst/>
            </a:prstGeom>
            <a:solidFill>
              <a:schemeClr val="bg1"/>
            </a:solidFill>
            <a:ln w="19050" cap="rnd">
              <a:solidFill>
                <a:srgbClr val="E71C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72000" numCol="1" spcCol="0" rtlCol="0" fromWordArt="0" anchor="t" anchorCtr="0" forceAA="0" compatLnSpc="1">
              <a:prstTxWarp prst="textNoShape">
                <a:avLst/>
              </a:prstTxWarp>
              <a:noAutofit/>
            </a:bodyPr>
            <a:lstStyle/>
            <a:p>
              <a:pPr algn="ctr">
                <a:buSzPct val="100000"/>
                <a:buFont typeface="Trebuchet MS" panose="020B0603020202020204" pitchFamily="34" charset="0"/>
                <a:buChar char="​"/>
              </a:pPr>
              <a:r>
                <a:rPr lang="en-US" sz="1100" dirty="0">
                  <a:solidFill>
                    <a:schemeClr val="tx1"/>
                  </a:solidFill>
                  <a:latin typeface="Trebuchet MS" panose="020B0603020202020204" pitchFamily="34" charset="0"/>
                </a:rPr>
                <a:t>Teams are separated into groups based on their competitive strength ranking (CSR)</a:t>
              </a:r>
            </a:p>
          </p:txBody>
        </p:sp>
      </p:grpSp>
    </p:spTree>
    <p:extLst>
      <p:ext uri="{BB962C8B-B14F-4D97-AF65-F5344CB8AC3E}">
        <p14:creationId xmlns:p14="http://schemas.microsoft.com/office/powerpoint/2010/main" val="850331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8F921D-DAEE-4AD4-BF37-55DCA8000CE6}"/>
              </a:ext>
            </a:extLst>
          </p:cNvPr>
          <p:cNvGraphicFramePr>
            <a:graphicFrameLocks noChangeAspect="1"/>
          </p:cNvGraphicFramePr>
          <p:nvPr>
            <p:custDataLst>
              <p:tags r:id="rId3"/>
            </p:custDataLst>
            <p:extLst>
              <p:ext uri="{D42A27DB-BD31-4B8C-83A1-F6EECF244321}">
                <p14:modId xmlns:p14="http://schemas.microsoft.com/office/powerpoint/2010/main" val="749166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2"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6C8AE7-077A-4C8E-8201-B25726BD295C}"/>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Title 1">
            <a:extLst>
              <a:ext uri="{FF2B5EF4-FFF2-40B4-BE49-F238E27FC236}">
                <a16:creationId xmlns:a16="http://schemas.microsoft.com/office/drawing/2014/main" id="{39DACCBA-8865-4D53-9C07-37FB4DC703C4}"/>
              </a:ext>
            </a:extLst>
          </p:cNvPr>
          <p:cNvSpPr>
            <a:spLocks noGrp="1"/>
          </p:cNvSpPr>
          <p:nvPr>
            <p:ph type="title"/>
          </p:nvPr>
        </p:nvSpPr>
        <p:spPr>
          <a:xfrm>
            <a:off x="630000" y="622800"/>
            <a:ext cx="10933350" cy="470898"/>
          </a:xfrm>
        </p:spPr>
        <p:txBody>
          <a:bodyPr/>
          <a:lstStyle/>
          <a:p>
            <a:r>
              <a:rPr lang="en-US" dirty="0"/>
              <a:t>Selection, by rounds, to fill championship field</a:t>
            </a:r>
          </a:p>
        </p:txBody>
      </p:sp>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703F7799-1BE8-4ACB-A592-B81C4AFA0DFA}"/>
                  </a:ext>
                </a:extLst>
              </p:cNvPr>
              <p:cNvGraphicFramePr/>
              <p:nvPr>
                <p:extLst>
                  <p:ext uri="{D42A27DB-BD31-4B8C-83A1-F6EECF244321}">
                    <p14:modId xmlns:p14="http://schemas.microsoft.com/office/powerpoint/2010/main" val="2321175765"/>
                  </p:ext>
                </p:extLst>
              </p:nvPr>
            </p:nvGraphicFramePr>
            <p:xfrm>
              <a:off x="424961" y="1328291"/>
              <a:ext cx="8128000" cy="5418667"/>
            </p:xfrm>
            <a:graphic>
              <a:graphicData uri="http://schemas.microsoft.com/office/drawing/2014/chartex">
                <cx:chart xmlns:cx="http://schemas.microsoft.com/office/drawing/2014/chartex" xmlns:r="http://schemas.openxmlformats.org/officeDocument/2006/relationships" r:id="rId9"/>
              </a:graphicData>
            </a:graphic>
          </p:graphicFrame>
        </mc:Choice>
        <mc:Fallback xmlns="">
          <p:pic>
            <p:nvPicPr>
              <p:cNvPr id="9" name="Chart 8">
                <a:extLst>
                  <a:ext uri="{FF2B5EF4-FFF2-40B4-BE49-F238E27FC236}">
                    <a16:creationId xmlns:a16="http://schemas.microsoft.com/office/drawing/2014/main" id="{703F7799-1BE8-4ACB-A592-B81C4AFA0DFA}"/>
                  </a:ext>
                </a:extLst>
              </p:cNvPr>
              <p:cNvPicPr>
                <a:picLocks noGrp="1" noRot="1" noChangeAspect="1" noMove="1" noResize="1" noEditPoints="1" noAdjustHandles="1" noChangeArrowheads="1" noChangeShapeType="1"/>
              </p:cNvPicPr>
              <p:nvPr/>
            </p:nvPicPr>
            <p:blipFill>
              <a:blip r:embed="rId10"/>
              <a:stretch>
                <a:fillRect/>
              </a:stretch>
            </p:blipFill>
            <p:spPr>
              <a:xfrm>
                <a:off x="424961" y="1328291"/>
                <a:ext cx="8128000" cy="5418667"/>
              </a:xfrm>
              <a:prstGeom prst="rect">
                <a:avLst/>
              </a:prstGeom>
            </p:spPr>
          </p:pic>
        </mc:Fallback>
      </mc:AlternateContent>
      <p:grpSp>
        <p:nvGrpSpPr>
          <p:cNvPr id="19" name="Group 18">
            <a:extLst>
              <a:ext uri="{FF2B5EF4-FFF2-40B4-BE49-F238E27FC236}">
                <a16:creationId xmlns:a16="http://schemas.microsoft.com/office/drawing/2014/main" id="{9DFB09A6-25D9-47BB-9772-F96A13C26416}"/>
              </a:ext>
            </a:extLst>
          </p:cNvPr>
          <p:cNvGrpSpPr/>
          <p:nvPr/>
        </p:nvGrpSpPr>
        <p:grpSpPr>
          <a:xfrm>
            <a:off x="9166391" y="2744957"/>
            <a:ext cx="2835110" cy="2101758"/>
            <a:chOff x="9166391" y="1441170"/>
            <a:chExt cx="2835110" cy="2101758"/>
          </a:xfrm>
        </p:grpSpPr>
        <p:sp>
          <p:nvSpPr>
            <p:cNvPr id="13" name="Oval 20">
              <a:extLst>
                <a:ext uri="{FF2B5EF4-FFF2-40B4-BE49-F238E27FC236}">
                  <a16:creationId xmlns:a16="http://schemas.microsoft.com/office/drawing/2014/main" id="{824CECCB-5A9D-436B-A5CC-925496BCB9CB}"/>
                </a:ext>
              </a:extLst>
            </p:cNvPr>
            <p:cNvSpPr>
              <a:spLocks noChangeAspect="1" noChangeArrowheads="1"/>
            </p:cNvSpPr>
            <p:nvPr/>
          </p:nvSpPr>
          <p:spPr bwMode="auto">
            <a:xfrm>
              <a:off x="9166391" y="3236018"/>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14" name="Oval 20">
              <a:extLst>
                <a:ext uri="{FF2B5EF4-FFF2-40B4-BE49-F238E27FC236}">
                  <a16:creationId xmlns:a16="http://schemas.microsoft.com/office/drawing/2014/main" id="{1C6D718A-FE7F-41F3-BAAB-9326C0025142}"/>
                </a:ext>
              </a:extLst>
            </p:cNvPr>
            <p:cNvSpPr>
              <a:spLocks noChangeAspect="1" noChangeArrowheads="1"/>
            </p:cNvSpPr>
            <p:nvPr/>
          </p:nvSpPr>
          <p:spPr bwMode="auto">
            <a:xfrm>
              <a:off x="9166391" y="2338594"/>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15" name="Oval 20">
              <a:extLst>
                <a:ext uri="{FF2B5EF4-FFF2-40B4-BE49-F238E27FC236}">
                  <a16:creationId xmlns:a16="http://schemas.microsoft.com/office/drawing/2014/main" id="{189AD9EF-B180-4CFB-B110-1779D2F31936}"/>
                </a:ext>
              </a:extLst>
            </p:cNvPr>
            <p:cNvSpPr>
              <a:spLocks noChangeAspect="1" noChangeArrowheads="1"/>
            </p:cNvSpPr>
            <p:nvPr/>
          </p:nvSpPr>
          <p:spPr bwMode="auto">
            <a:xfrm>
              <a:off x="9166391" y="1441170"/>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16" name="TextBox 15">
              <a:extLst>
                <a:ext uri="{FF2B5EF4-FFF2-40B4-BE49-F238E27FC236}">
                  <a16:creationId xmlns:a16="http://schemas.microsoft.com/office/drawing/2014/main" id="{AB183DA2-9395-4B9C-8656-0A314421096F}"/>
                </a:ext>
              </a:extLst>
            </p:cNvPr>
            <p:cNvSpPr txBox="1"/>
            <p:nvPr/>
          </p:nvSpPr>
          <p:spPr>
            <a:xfrm>
              <a:off x="9767279" y="1441170"/>
              <a:ext cx="1872761" cy="3069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575757"/>
                  </a:solidFill>
                </a:rPr>
                <a:t>Conference Champions</a:t>
              </a:r>
            </a:p>
          </p:txBody>
        </p:sp>
        <p:sp>
          <p:nvSpPr>
            <p:cNvPr id="17" name="TextBox 16">
              <a:extLst>
                <a:ext uri="{FF2B5EF4-FFF2-40B4-BE49-F238E27FC236}">
                  <a16:creationId xmlns:a16="http://schemas.microsoft.com/office/drawing/2014/main" id="{72CD5766-6EC2-48D5-8907-522DBD18857E}"/>
                </a:ext>
              </a:extLst>
            </p:cNvPr>
            <p:cNvSpPr txBox="1"/>
            <p:nvPr/>
          </p:nvSpPr>
          <p:spPr>
            <a:xfrm>
              <a:off x="9767279" y="2338594"/>
              <a:ext cx="1872761" cy="3069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575757"/>
                  </a:solidFill>
                </a:rPr>
                <a:t>Direct Selection</a:t>
              </a:r>
            </a:p>
          </p:txBody>
        </p:sp>
        <p:sp>
          <p:nvSpPr>
            <p:cNvPr id="18" name="TextBox 17">
              <a:extLst>
                <a:ext uri="{FF2B5EF4-FFF2-40B4-BE49-F238E27FC236}">
                  <a16:creationId xmlns:a16="http://schemas.microsoft.com/office/drawing/2014/main" id="{0127F34A-985B-44E1-8881-BE758BA7CAE8}"/>
                </a:ext>
              </a:extLst>
            </p:cNvPr>
            <p:cNvSpPr txBox="1"/>
            <p:nvPr/>
          </p:nvSpPr>
          <p:spPr>
            <a:xfrm>
              <a:off x="9767278" y="3236018"/>
              <a:ext cx="2234223" cy="3069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575757"/>
                  </a:solidFill>
                </a:rPr>
                <a:t>Selection structured by competitive strength ranking</a:t>
              </a:r>
            </a:p>
          </p:txBody>
        </p:sp>
      </p:grpSp>
    </p:spTree>
    <p:custDataLst>
      <p:tags r:id="rId2"/>
    </p:custDataLst>
    <p:extLst>
      <p:ext uri="{BB962C8B-B14F-4D97-AF65-F5344CB8AC3E}">
        <p14:creationId xmlns:p14="http://schemas.microsoft.com/office/powerpoint/2010/main" val="658096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CE4600-C596-4FEC-AF71-E90BA8880672}"/>
              </a:ext>
            </a:extLst>
          </p:cNvPr>
          <p:cNvGraphicFramePr>
            <a:graphicFrameLocks noChangeAspect="1"/>
          </p:cNvGraphicFramePr>
          <p:nvPr>
            <p:custDataLst>
              <p:tags r:id="rId3"/>
            </p:custDataLst>
            <p:extLst>
              <p:ext uri="{D42A27DB-BD31-4B8C-83A1-F6EECF244321}">
                <p14:modId xmlns:p14="http://schemas.microsoft.com/office/powerpoint/2010/main" val="453237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4"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FD34E19-78AE-44B4-BBE3-F47659EE5E2B}"/>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Freeform 8">
            <a:extLst>
              <a:ext uri="{FF2B5EF4-FFF2-40B4-BE49-F238E27FC236}">
                <a16:creationId xmlns:a16="http://schemas.microsoft.com/office/drawing/2014/main" id="{56648DB5-1DE4-4C84-862F-54D690BD4225}"/>
              </a:ext>
            </a:extLst>
          </p:cNvPr>
          <p:cNvSpPr>
            <a:spLocks/>
          </p:cNvSpPr>
          <p:nvPr/>
        </p:nvSpPr>
        <p:spPr bwMode="auto">
          <a:xfrm rot="21365059">
            <a:off x="5173036" y="5318810"/>
            <a:ext cx="2186214" cy="1317498"/>
          </a:xfrm>
          <a:custGeom>
            <a:avLst/>
            <a:gdLst>
              <a:gd name="T0" fmla="*/ 149 w 1417"/>
              <a:gd name="T1" fmla="*/ 1175 h 1175"/>
              <a:gd name="T2" fmla="*/ 239 w 1417"/>
              <a:gd name="T3" fmla="*/ 1174 h 1175"/>
              <a:gd name="T4" fmla="*/ 326 w 1417"/>
              <a:gd name="T5" fmla="*/ 1167 h 1175"/>
              <a:gd name="T6" fmla="*/ 412 w 1417"/>
              <a:gd name="T7" fmla="*/ 1154 h 1175"/>
              <a:gd name="T8" fmla="*/ 495 w 1417"/>
              <a:gd name="T9" fmla="*/ 1136 h 1175"/>
              <a:gd name="T10" fmla="*/ 575 w 1417"/>
              <a:gd name="T11" fmla="*/ 1112 h 1175"/>
              <a:gd name="T12" fmla="*/ 655 w 1417"/>
              <a:gd name="T13" fmla="*/ 1082 h 1175"/>
              <a:gd name="T14" fmla="*/ 731 w 1417"/>
              <a:gd name="T15" fmla="*/ 1047 h 1175"/>
              <a:gd name="T16" fmla="*/ 806 w 1417"/>
              <a:gd name="T17" fmla="*/ 1005 h 1175"/>
              <a:gd name="T18" fmla="*/ 878 w 1417"/>
              <a:gd name="T19" fmla="*/ 959 h 1175"/>
              <a:gd name="T20" fmla="*/ 948 w 1417"/>
              <a:gd name="T21" fmla="*/ 905 h 1175"/>
              <a:gd name="T22" fmla="*/ 1016 w 1417"/>
              <a:gd name="T23" fmla="*/ 847 h 1175"/>
              <a:gd name="T24" fmla="*/ 1080 w 1417"/>
              <a:gd name="T25" fmla="*/ 785 h 1175"/>
              <a:gd name="T26" fmla="*/ 1139 w 1417"/>
              <a:gd name="T27" fmla="*/ 719 h 1175"/>
              <a:gd name="T28" fmla="*/ 1192 w 1417"/>
              <a:gd name="T29" fmla="*/ 651 h 1175"/>
              <a:gd name="T30" fmla="*/ 1239 w 1417"/>
              <a:gd name="T31" fmla="*/ 581 h 1175"/>
              <a:gd name="T32" fmla="*/ 1281 w 1417"/>
              <a:gd name="T33" fmla="*/ 507 h 1175"/>
              <a:gd name="T34" fmla="*/ 1318 w 1417"/>
              <a:gd name="T35" fmla="*/ 431 h 1175"/>
              <a:gd name="T36" fmla="*/ 1349 w 1417"/>
              <a:gd name="T37" fmla="*/ 352 h 1175"/>
              <a:gd name="T38" fmla="*/ 1374 w 1417"/>
              <a:gd name="T39" fmla="*/ 272 h 1175"/>
              <a:gd name="T40" fmla="*/ 1394 w 1417"/>
              <a:gd name="T41" fmla="*/ 188 h 1175"/>
              <a:gd name="T42" fmla="*/ 1409 w 1417"/>
              <a:gd name="T43" fmla="*/ 101 h 1175"/>
              <a:gd name="T44" fmla="*/ 1417 w 1417"/>
              <a:gd name="T45" fmla="*/ 12 h 1175"/>
              <a:gd name="T46" fmla="*/ 1091 w 1417"/>
              <a:gd name="T47" fmla="*/ 161 h 1175"/>
              <a:gd name="T48" fmla="*/ 768 w 1417"/>
              <a:gd name="T49" fmla="*/ 0 h 1175"/>
              <a:gd name="T50" fmla="*/ 759 w 1417"/>
              <a:gd name="T51" fmla="*/ 57 h 1175"/>
              <a:gd name="T52" fmla="*/ 745 w 1417"/>
              <a:gd name="T53" fmla="*/ 110 h 1175"/>
              <a:gd name="T54" fmla="*/ 726 w 1417"/>
              <a:gd name="T55" fmla="*/ 162 h 1175"/>
              <a:gd name="T56" fmla="*/ 703 w 1417"/>
              <a:gd name="T57" fmla="*/ 210 h 1175"/>
              <a:gd name="T58" fmla="*/ 676 w 1417"/>
              <a:gd name="T59" fmla="*/ 256 h 1175"/>
              <a:gd name="T60" fmla="*/ 643 w 1417"/>
              <a:gd name="T61" fmla="*/ 300 h 1175"/>
              <a:gd name="T62" fmla="*/ 607 w 1417"/>
              <a:gd name="T63" fmla="*/ 342 h 1175"/>
              <a:gd name="T64" fmla="*/ 566 w 1417"/>
              <a:gd name="T65" fmla="*/ 381 h 1175"/>
              <a:gd name="T66" fmla="*/ 521 w 1417"/>
              <a:gd name="T67" fmla="*/ 416 h 1175"/>
              <a:gd name="T68" fmla="*/ 475 w 1417"/>
              <a:gd name="T69" fmla="*/ 446 h 1175"/>
              <a:gd name="T70" fmla="*/ 427 w 1417"/>
              <a:gd name="T71" fmla="*/ 472 h 1175"/>
              <a:gd name="T72" fmla="*/ 377 w 1417"/>
              <a:gd name="T73" fmla="*/ 493 h 1175"/>
              <a:gd name="T74" fmla="*/ 326 w 1417"/>
              <a:gd name="T75" fmla="*/ 509 h 1175"/>
              <a:gd name="T76" fmla="*/ 273 w 1417"/>
              <a:gd name="T77" fmla="*/ 520 h 1175"/>
              <a:gd name="T78" fmla="*/ 217 w 1417"/>
              <a:gd name="T79" fmla="*/ 526 h 1175"/>
              <a:gd name="T80" fmla="*/ 161 w 1417"/>
              <a:gd name="T81" fmla="*/ 527 h 1175"/>
              <a:gd name="T82" fmla="*/ 161 w 1417"/>
              <a:gd name="T83" fmla="*/ 527 h 1175"/>
              <a:gd name="T84" fmla="*/ 0 w 1417"/>
              <a:gd name="T85" fmla="*/ 849 h 1175"/>
              <a:gd name="T86" fmla="*/ 149 w 1417"/>
              <a:gd name="T87" fmla="*/ 1175 h 1175"/>
              <a:gd name="T88" fmla="*/ 149 w 1417"/>
              <a:gd name="T89" fmla="*/ 1175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17" h="1175">
                <a:moveTo>
                  <a:pt x="149" y="1175"/>
                </a:moveTo>
                <a:lnTo>
                  <a:pt x="239" y="1174"/>
                </a:lnTo>
                <a:lnTo>
                  <a:pt x="326" y="1167"/>
                </a:lnTo>
                <a:lnTo>
                  <a:pt x="412" y="1154"/>
                </a:lnTo>
                <a:lnTo>
                  <a:pt x="495" y="1136"/>
                </a:lnTo>
                <a:lnTo>
                  <a:pt x="575" y="1112"/>
                </a:lnTo>
                <a:lnTo>
                  <a:pt x="655" y="1082"/>
                </a:lnTo>
                <a:lnTo>
                  <a:pt x="731" y="1047"/>
                </a:lnTo>
                <a:lnTo>
                  <a:pt x="806" y="1005"/>
                </a:lnTo>
                <a:lnTo>
                  <a:pt x="878" y="959"/>
                </a:lnTo>
                <a:lnTo>
                  <a:pt x="948" y="905"/>
                </a:lnTo>
                <a:lnTo>
                  <a:pt x="1016" y="847"/>
                </a:lnTo>
                <a:lnTo>
                  <a:pt x="1080" y="785"/>
                </a:lnTo>
                <a:lnTo>
                  <a:pt x="1139" y="719"/>
                </a:lnTo>
                <a:lnTo>
                  <a:pt x="1192" y="651"/>
                </a:lnTo>
                <a:lnTo>
                  <a:pt x="1239" y="581"/>
                </a:lnTo>
                <a:lnTo>
                  <a:pt x="1281" y="507"/>
                </a:lnTo>
                <a:lnTo>
                  <a:pt x="1318" y="431"/>
                </a:lnTo>
                <a:lnTo>
                  <a:pt x="1349" y="352"/>
                </a:lnTo>
                <a:lnTo>
                  <a:pt x="1374" y="272"/>
                </a:lnTo>
                <a:lnTo>
                  <a:pt x="1394" y="188"/>
                </a:lnTo>
                <a:lnTo>
                  <a:pt x="1409" y="101"/>
                </a:lnTo>
                <a:lnTo>
                  <a:pt x="1417" y="12"/>
                </a:lnTo>
                <a:lnTo>
                  <a:pt x="1091" y="161"/>
                </a:lnTo>
                <a:lnTo>
                  <a:pt x="768" y="0"/>
                </a:lnTo>
                <a:lnTo>
                  <a:pt x="759" y="57"/>
                </a:lnTo>
                <a:lnTo>
                  <a:pt x="745" y="110"/>
                </a:lnTo>
                <a:lnTo>
                  <a:pt x="726" y="162"/>
                </a:lnTo>
                <a:lnTo>
                  <a:pt x="703" y="210"/>
                </a:lnTo>
                <a:lnTo>
                  <a:pt x="676" y="256"/>
                </a:lnTo>
                <a:lnTo>
                  <a:pt x="643" y="300"/>
                </a:lnTo>
                <a:lnTo>
                  <a:pt x="607" y="342"/>
                </a:lnTo>
                <a:lnTo>
                  <a:pt x="566" y="381"/>
                </a:lnTo>
                <a:lnTo>
                  <a:pt x="521" y="416"/>
                </a:lnTo>
                <a:lnTo>
                  <a:pt x="475" y="446"/>
                </a:lnTo>
                <a:lnTo>
                  <a:pt x="427" y="472"/>
                </a:lnTo>
                <a:lnTo>
                  <a:pt x="377" y="493"/>
                </a:lnTo>
                <a:lnTo>
                  <a:pt x="326" y="509"/>
                </a:lnTo>
                <a:lnTo>
                  <a:pt x="273" y="520"/>
                </a:lnTo>
                <a:lnTo>
                  <a:pt x="217" y="526"/>
                </a:lnTo>
                <a:lnTo>
                  <a:pt x="161" y="527"/>
                </a:lnTo>
                <a:lnTo>
                  <a:pt x="161" y="527"/>
                </a:lnTo>
                <a:lnTo>
                  <a:pt x="0" y="849"/>
                </a:lnTo>
                <a:lnTo>
                  <a:pt x="149" y="1175"/>
                </a:lnTo>
                <a:lnTo>
                  <a:pt x="149" y="1175"/>
                </a:lnTo>
                <a:close/>
              </a:path>
            </a:pathLst>
          </a:custGeom>
          <a:solidFill>
            <a:srgbClr val="03522D"/>
          </a:solidFill>
          <a:ln w="0">
            <a:noFill/>
            <a:prstDash val="solid"/>
            <a:round/>
            <a:headEnd/>
            <a:tailEnd/>
          </a:ln>
          <a:scene3d>
            <a:camera prst="orthographicFront">
              <a:rot lat="0" lon="10800000" rev="0"/>
            </a:camera>
            <a:lightRig rig="threePt" dir="t"/>
          </a:scene3d>
          <a:extLst>
            <a:ext uri="{91240B29-F687-4F45-9708-019B960494DF}">
              <a14:hiddenLine xmlns:a14="http://schemas.microsoft.com/office/drawing/2010/main" w="0">
                <a:solidFill>
                  <a:srgbClr val="C0C0C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3522D"/>
              </a:solidFill>
            </a:endParaRPr>
          </a:p>
        </p:txBody>
      </p:sp>
      <p:sp>
        <p:nvSpPr>
          <p:cNvPr id="2" name="Title 1"/>
          <p:cNvSpPr>
            <a:spLocks noGrp="1"/>
          </p:cNvSpPr>
          <p:nvPr>
            <p:ph type="title"/>
          </p:nvPr>
        </p:nvSpPr>
        <p:spPr>
          <a:xfrm>
            <a:off x="630000" y="622800"/>
            <a:ext cx="10933200" cy="1412694"/>
          </a:xfrm>
        </p:spPr>
        <p:txBody>
          <a:bodyPr/>
          <a:lstStyle/>
          <a:p>
            <a:r>
              <a:rPr lang="en-US" dirty="0"/>
              <a:t>Round 3+, groups of teams are segregated by their ranking score and assessed on their cumulative performance</a:t>
            </a:r>
          </a:p>
        </p:txBody>
      </p:sp>
      <p:grpSp>
        <p:nvGrpSpPr>
          <p:cNvPr id="5" name="Group 4">
            <a:extLst>
              <a:ext uri="{FF2B5EF4-FFF2-40B4-BE49-F238E27FC236}">
                <a16:creationId xmlns:a16="http://schemas.microsoft.com/office/drawing/2014/main" id="{879BB05D-75DC-4839-B276-5AD15E1FFB52}"/>
              </a:ext>
            </a:extLst>
          </p:cNvPr>
          <p:cNvGrpSpPr/>
          <p:nvPr/>
        </p:nvGrpSpPr>
        <p:grpSpPr>
          <a:xfrm>
            <a:off x="2236374" y="2397663"/>
            <a:ext cx="4861752" cy="3960813"/>
            <a:chOff x="3217036" y="2132013"/>
            <a:chExt cx="4861752" cy="3960813"/>
          </a:xfrm>
        </p:grpSpPr>
        <p:sp>
          <p:nvSpPr>
            <p:cNvPr id="6" name="Freeform 7">
              <a:extLst>
                <a:ext uri="{FF2B5EF4-FFF2-40B4-BE49-F238E27FC236}">
                  <a16:creationId xmlns:a16="http://schemas.microsoft.com/office/drawing/2014/main" id="{9A271022-8612-4575-85A0-6B766F190068}"/>
                </a:ext>
              </a:extLst>
            </p:cNvPr>
            <p:cNvSpPr>
              <a:spLocks/>
            </p:cNvSpPr>
            <p:nvPr/>
          </p:nvSpPr>
          <p:spPr bwMode="auto">
            <a:xfrm>
              <a:off x="6213475" y="2132013"/>
              <a:ext cx="1865313" cy="2249488"/>
            </a:xfrm>
            <a:custGeom>
              <a:avLst/>
              <a:gdLst>
                <a:gd name="T0" fmla="*/ 1175 w 1175"/>
                <a:gd name="T1" fmla="*/ 1268 h 1417"/>
                <a:gd name="T2" fmla="*/ 1174 w 1175"/>
                <a:gd name="T3" fmla="*/ 1178 h 1417"/>
                <a:gd name="T4" fmla="*/ 1167 w 1175"/>
                <a:gd name="T5" fmla="*/ 1091 h 1417"/>
                <a:gd name="T6" fmla="*/ 1154 w 1175"/>
                <a:gd name="T7" fmla="*/ 1005 h 1417"/>
                <a:gd name="T8" fmla="*/ 1136 w 1175"/>
                <a:gd name="T9" fmla="*/ 922 h 1417"/>
                <a:gd name="T10" fmla="*/ 1112 w 1175"/>
                <a:gd name="T11" fmla="*/ 842 h 1417"/>
                <a:gd name="T12" fmla="*/ 1082 w 1175"/>
                <a:gd name="T13" fmla="*/ 762 h 1417"/>
                <a:gd name="T14" fmla="*/ 1047 w 1175"/>
                <a:gd name="T15" fmla="*/ 686 h 1417"/>
                <a:gd name="T16" fmla="*/ 1005 w 1175"/>
                <a:gd name="T17" fmla="*/ 611 h 1417"/>
                <a:gd name="T18" fmla="*/ 959 w 1175"/>
                <a:gd name="T19" fmla="*/ 539 h 1417"/>
                <a:gd name="T20" fmla="*/ 905 w 1175"/>
                <a:gd name="T21" fmla="*/ 469 h 1417"/>
                <a:gd name="T22" fmla="*/ 847 w 1175"/>
                <a:gd name="T23" fmla="*/ 401 h 1417"/>
                <a:gd name="T24" fmla="*/ 785 w 1175"/>
                <a:gd name="T25" fmla="*/ 337 h 1417"/>
                <a:gd name="T26" fmla="*/ 719 w 1175"/>
                <a:gd name="T27" fmla="*/ 278 h 1417"/>
                <a:gd name="T28" fmla="*/ 651 w 1175"/>
                <a:gd name="T29" fmla="*/ 225 h 1417"/>
                <a:gd name="T30" fmla="*/ 581 w 1175"/>
                <a:gd name="T31" fmla="*/ 178 h 1417"/>
                <a:gd name="T32" fmla="*/ 507 w 1175"/>
                <a:gd name="T33" fmla="*/ 136 h 1417"/>
                <a:gd name="T34" fmla="*/ 431 w 1175"/>
                <a:gd name="T35" fmla="*/ 99 h 1417"/>
                <a:gd name="T36" fmla="*/ 352 w 1175"/>
                <a:gd name="T37" fmla="*/ 68 h 1417"/>
                <a:gd name="T38" fmla="*/ 272 w 1175"/>
                <a:gd name="T39" fmla="*/ 43 h 1417"/>
                <a:gd name="T40" fmla="*/ 188 w 1175"/>
                <a:gd name="T41" fmla="*/ 23 h 1417"/>
                <a:gd name="T42" fmla="*/ 101 w 1175"/>
                <a:gd name="T43" fmla="*/ 8 h 1417"/>
                <a:gd name="T44" fmla="*/ 12 w 1175"/>
                <a:gd name="T45" fmla="*/ 0 h 1417"/>
                <a:gd name="T46" fmla="*/ 161 w 1175"/>
                <a:gd name="T47" fmla="*/ 326 h 1417"/>
                <a:gd name="T48" fmla="*/ 0 w 1175"/>
                <a:gd name="T49" fmla="*/ 649 h 1417"/>
                <a:gd name="T50" fmla="*/ 57 w 1175"/>
                <a:gd name="T51" fmla="*/ 658 h 1417"/>
                <a:gd name="T52" fmla="*/ 110 w 1175"/>
                <a:gd name="T53" fmla="*/ 672 h 1417"/>
                <a:gd name="T54" fmla="*/ 162 w 1175"/>
                <a:gd name="T55" fmla="*/ 691 h 1417"/>
                <a:gd name="T56" fmla="*/ 210 w 1175"/>
                <a:gd name="T57" fmla="*/ 714 h 1417"/>
                <a:gd name="T58" fmla="*/ 256 w 1175"/>
                <a:gd name="T59" fmla="*/ 741 h 1417"/>
                <a:gd name="T60" fmla="*/ 300 w 1175"/>
                <a:gd name="T61" fmla="*/ 774 h 1417"/>
                <a:gd name="T62" fmla="*/ 342 w 1175"/>
                <a:gd name="T63" fmla="*/ 810 h 1417"/>
                <a:gd name="T64" fmla="*/ 381 w 1175"/>
                <a:gd name="T65" fmla="*/ 851 h 1417"/>
                <a:gd name="T66" fmla="*/ 416 w 1175"/>
                <a:gd name="T67" fmla="*/ 896 h 1417"/>
                <a:gd name="T68" fmla="*/ 446 w 1175"/>
                <a:gd name="T69" fmla="*/ 942 h 1417"/>
                <a:gd name="T70" fmla="*/ 472 w 1175"/>
                <a:gd name="T71" fmla="*/ 990 h 1417"/>
                <a:gd name="T72" fmla="*/ 493 w 1175"/>
                <a:gd name="T73" fmla="*/ 1040 h 1417"/>
                <a:gd name="T74" fmla="*/ 509 w 1175"/>
                <a:gd name="T75" fmla="*/ 1091 h 1417"/>
                <a:gd name="T76" fmla="*/ 520 w 1175"/>
                <a:gd name="T77" fmla="*/ 1144 h 1417"/>
                <a:gd name="T78" fmla="*/ 526 w 1175"/>
                <a:gd name="T79" fmla="*/ 1200 h 1417"/>
                <a:gd name="T80" fmla="*/ 527 w 1175"/>
                <a:gd name="T81" fmla="*/ 1256 h 1417"/>
                <a:gd name="T82" fmla="*/ 527 w 1175"/>
                <a:gd name="T83" fmla="*/ 1256 h 1417"/>
                <a:gd name="T84" fmla="*/ 849 w 1175"/>
                <a:gd name="T85" fmla="*/ 1417 h 1417"/>
                <a:gd name="T86" fmla="*/ 1175 w 1175"/>
                <a:gd name="T87" fmla="*/ 1268 h 1417"/>
                <a:gd name="T88" fmla="*/ 1175 w 1175"/>
                <a:gd name="T89" fmla="*/ 1268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5" h="1417">
                  <a:moveTo>
                    <a:pt x="1175" y="1268"/>
                  </a:moveTo>
                  <a:lnTo>
                    <a:pt x="1174" y="1178"/>
                  </a:lnTo>
                  <a:lnTo>
                    <a:pt x="1167" y="1091"/>
                  </a:lnTo>
                  <a:lnTo>
                    <a:pt x="1154" y="1005"/>
                  </a:lnTo>
                  <a:lnTo>
                    <a:pt x="1136" y="922"/>
                  </a:lnTo>
                  <a:lnTo>
                    <a:pt x="1112" y="842"/>
                  </a:lnTo>
                  <a:lnTo>
                    <a:pt x="1082" y="762"/>
                  </a:lnTo>
                  <a:lnTo>
                    <a:pt x="1047" y="686"/>
                  </a:lnTo>
                  <a:lnTo>
                    <a:pt x="1005" y="611"/>
                  </a:lnTo>
                  <a:lnTo>
                    <a:pt x="959" y="539"/>
                  </a:lnTo>
                  <a:lnTo>
                    <a:pt x="905" y="469"/>
                  </a:lnTo>
                  <a:lnTo>
                    <a:pt x="847" y="401"/>
                  </a:lnTo>
                  <a:lnTo>
                    <a:pt x="785" y="337"/>
                  </a:lnTo>
                  <a:lnTo>
                    <a:pt x="719" y="278"/>
                  </a:lnTo>
                  <a:lnTo>
                    <a:pt x="651" y="225"/>
                  </a:lnTo>
                  <a:lnTo>
                    <a:pt x="581" y="178"/>
                  </a:lnTo>
                  <a:lnTo>
                    <a:pt x="507" y="136"/>
                  </a:lnTo>
                  <a:lnTo>
                    <a:pt x="431" y="99"/>
                  </a:lnTo>
                  <a:lnTo>
                    <a:pt x="352" y="68"/>
                  </a:lnTo>
                  <a:lnTo>
                    <a:pt x="272" y="43"/>
                  </a:lnTo>
                  <a:lnTo>
                    <a:pt x="188" y="23"/>
                  </a:lnTo>
                  <a:lnTo>
                    <a:pt x="101" y="8"/>
                  </a:lnTo>
                  <a:lnTo>
                    <a:pt x="12" y="0"/>
                  </a:lnTo>
                  <a:lnTo>
                    <a:pt x="161" y="326"/>
                  </a:lnTo>
                  <a:lnTo>
                    <a:pt x="0" y="649"/>
                  </a:lnTo>
                  <a:lnTo>
                    <a:pt x="57" y="658"/>
                  </a:lnTo>
                  <a:lnTo>
                    <a:pt x="110" y="672"/>
                  </a:lnTo>
                  <a:lnTo>
                    <a:pt x="162" y="691"/>
                  </a:lnTo>
                  <a:lnTo>
                    <a:pt x="210" y="714"/>
                  </a:lnTo>
                  <a:lnTo>
                    <a:pt x="256" y="741"/>
                  </a:lnTo>
                  <a:lnTo>
                    <a:pt x="300" y="774"/>
                  </a:lnTo>
                  <a:lnTo>
                    <a:pt x="342" y="810"/>
                  </a:lnTo>
                  <a:lnTo>
                    <a:pt x="381" y="851"/>
                  </a:lnTo>
                  <a:lnTo>
                    <a:pt x="416" y="896"/>
                  </a:lnTo>
                  <a:lnTo>
                    <a:pt x="446" y="942"/>
                  </a:lnTo>
                  <a:lnTo>
                    <a:pt x="472" y="990"/>
                  </a:lnTo>
                  <a:lnTo>
                    <a:pt x="493" y="1040"/>
                  </a:lnTo>
                  <a:lnTo>
                    <a:pt x="509" y="1091"/>
                  </a:lnTo>
                  <a:lnTo>
                    <a:pt x="520" y="1144"/>
                  </a:lnTo>
                  <a:lnTo>
                    <a:pt x="526" y="1200"/>
                  </a:lnTo>
                  <a:lnTo>
                    <a:pt x="527" y="1256"/>
                  </a:lnTo>
                  <a:lnTo>
                    <a:pt x="527" y="1256"/>
                  </a:lnTo>
                  <a:lnTo>
                    <a:pt x="849" y="1417"/>
                  </a:lnTo>
                  <a:lnTo>
                    <a:pt x="1175" y="1268"/>
                  </a:lnTo>
                  <a:lnTo>
                    <a:pt x="1175" y="1268"/>
                  </a:lnTo>
                  <a:close/>
                </a:path>
              </a:pathLst>
            </a:custGeom>
            <a:solidFill>
              <a:schemeClr val="accent4"/>
            </a:solidFill>
            <a:ln w="0">
              <a:noFill/>
              <a:prstDash val="solid"/>
              <a:round/>
              <a:headEnd/>
              <a:tailEnd/>
            </a:ln>
            <a:extLst>
              <a:ext uri="{91240B29-F687-4F45-9708-019B960494DF}">
                <a14:hiddenLine xmlns:a14="http://schemas.microsoft.com/office/drawing/2010/main" w="0">
                  <a:solidFill>
                    <a:srgbClr val="C0C0C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8">
              <a:extLst>
                <a:ext uri="{FF2B5EF4-FFF2-40B4-BE49-F238E27FC236}">
                  <a16:creationId xmlns:a16="http://schemas.microsoft.com/office/drawing/2014/main" id="{A964307B-5336-4457-A0DF-857DA9039735}"/>
                </a:ext>
              </a:extLst>
            </p:cNvPr>
            <p:cNvSpPr>
              <a:spLocks/>
            </p:cNvSpPr>
            <p:nvPr/>
          </p:nvSpPr>
          <p:spPr bwMode="auto">
            <a:xfrm>
              <a:off x="5824538" y="4227513"/>
              <a:ext cx="2249488" cy="1865313"/>
            </a:xfrm>
            <a:custGeom>
              <a:avLst/>
              <a:gdLst>
                <a:gd name="T0" fmla="*/ 149 w 1417"/>
                <a:gd name="T1" fmla="*/ 1175 h 1175"/>
                <a:gd name="T2" fmla="*/ 239 w 1417"/>
                <a:gd name="T3" fmla="*/ 1174 h 1175"/>
                <a:gd name="T4" fmla="*/ 326 w 1417"/>
                <a:gd name="T5" fmla="*/ 1167 h 1175"/>
                <a:gd name="T6" fmla="*/ 412 w 1417"/>
                <a:gd name="T7" fmla="*/ 1154 h 1175"/>
                <a:gd name="T8" fmla="*/ 495 w 1417"/>
                <a:gd name="T9" fmla="*/ 1136 h 1175"/>
                <a:gd name="T10" fmla="*/ 575 w 1417"/>
                <a:gd name="T11" fmla="*/ 1112 h 1175"/>
                <a:gd name="T12" fmla="*/ 655 w 1417"/>
                <a:gd name="T13" fmla="*/ 1082 h 1175"/>
                <a:gd name="T14" fmla="*/ 731 w 1417"/>
                <a:gd name="T15" fmla="*/ 1047 h 1175"/>
                <a:gd name="T16" fmla="*/ 806 w 1417"/>
                <a:gd name="T17" fmla="*/ 1005 h 1175"/>
                <a:gd name="T18" fmla="*/ 878 w 1417"/>
                <a:gd name="T19" fmla="*/ 959 h 1175"/>
                <a:gd name="T20" fmla="*/ 948 w 1417"/>
                <a:gd name="T21" fmla="*/ 905 h 1175"/>
                <a:gd name="T22" fmla="*/ 1016 w 1417"/>
                <a:gd name="T23" fmla="*/ 847 h 1175"/>
                <a:gd name="T24" fmla="*/ 1080 w 1417"/>
                <a:gd name="T25" fmla="*/ 785 h 1175"/>
                <a:gd name="T26" fmla="*/ 1139 w 1417"/>
                <a:gd name="T27" fmla="*/ 719 h 1175"/>
                <a:gd name="T28" fmla="*/ 1192 w 1417"/>
                <a:gd name="T29" fmla="*/ 651 h 1175"/>
                <a:gd name="T30" fmla="*/ 1239 w 1417"/>
                <a:gd name="T31" fmla="*/ 581 h 1175"/>
                <a:gd name="T32" fmla="*/ 1281 w 1417"/>
                <a:gd name="T33" fmla="*/ 507 h 1175"/>
                <a:gd name="T34" fmla="*/ 1318 w 1417"/>
                <a:gd name="T35" fmla="*/ 431 h 1175"/>
                <a:gd name="T36" fmla="*/ 1349 w 1417"/>
                <a:gd name="T37" fmla="*/ 352 h 1175"/>
                <a:gd name="T38" fmla="*/ 1374 w 1417"/>
                <a:gd name="T39" fmla="*/ 272 h 1175"/>
                <a:gd name="T40" fmla="*/ 1394 w 1417"/>
                <a:gd name="T41" fmla="*/ 188 h 1175"/>
                <a:gd name="T42" fmla="*/ 1409 w 1417"/>
                <a:gd name="T43" fmla="*/ 101 h 1175"/>
                <a:gd name="T44" fmla="*/ 1417 w 1417"/>
                <a:gd name="T45" fmla="*/ 12 h 1175"/>
                <a:gd name="T46" fmla="*/ 1091 w 1417"/>
                <a:gd name="T47" fmla="*/ 161 h 1175"/>
                <a:gd name="T48" fmla="*/ 768 w 1417"/>
                <a:gd name="T49" fmla="*/ 0 h 1175"/>
                <a:gd name="T50" fmla="*/ 759 w 1417"/>
                <a:gd name="T51" fmla="*/ 57 h 1175"/>
                <a:gd name="T52" fmla="*/ 745 w 1417"/>
                <a:gd name="T53" fmla="*/ 110 h 1175"/>
                <a:gd name="T54" fmla="*/ 726 w 1417"/>
                <a:gd name="T55" fmla="*/ 162 h 1175"/>
                <a:gd name="T56" fmla="*/ 703 w 1417"/>
                <a:gd name="T57" fmla="*/ 210 h 1175"/>
                <a:gd name="T58" fmla="*/ 676 w 1417"/>
                <a:gd name="T59" fmla="*/ 256 h 1175"/>
                <a:gd name="T60" fmla="*/ 643 w 1417"/>
                <a:gd name="T61" fmla="*/ 300 h 1175"/>
                <a:gd name="T62" fmla="*/ 607 w 1417"/>
                <a:gd name="T63" fmla="*/ 342 h 1175"/>
                <a:gd name="T64" fmla="*/ 566 w 1417"/>
                <a:gd name="T65" fmla="*/ 381 h 1175"/>
                <a:gd name="T66" fmla="*/ 521 w 1417"/>
                <a:gd name="T67" fmla="*/ 416 h 1175"/>
                <a:gd name="T68" fmla="*/ 475 w 1417"/>
                <a:gd name="T69" fmla="*/ 446 h 1175"/>
                <a:gd name="T70" fmla="*/ 427 w 1417"/>
                <a:gd name="T71" fmla="*/ 472 h 1175"/>
                <a:gd name="T72" fmla="*/ 377 w 1417"/>
                <a:gd name="T73" fmla="*/ 493 h 1175"/>
                <a:gd name="T74" fmla="*/ 326 w 1417"/>
                <a:gd name="T75" fmla="*/ 509 h 1175"/>
                <a:gd name="T76" fmla="*/ 273 w 1417"/>
                <a:gd name="T77" fmla="*/ 520 h 1175"/>
                <a:gd name="T78" fmla="*/ 217 w 1417"/>
                <a:gd name="T79" fmla="*/ 526 h 1175"/>
                <a:gd name="T80" fmla="*/ 161 w 1417"/>
                <a:gd name="T81" fmla="*/ 527 h 1175"/>
                <a:gd name="T82" fmla="*/ 161 w 1417"/>
                <a:gd name="T83" fmla="*/ 527 h 1175"/>
                <a:gd name="T84" fmla="*/ 0 w 1417"/>
                <a:gd name="T85" fmla="*/ 849 h 1175"/>
                <a:gd name="T86" fmla="*/ 149 w 1417"/>
                <a:gd name="T87" fmla="*/ 1175 h 1175"/>
                <a:gd name="T88" fmla="*/ 149 w 1417"/>
                <a:gd name="T89" fmla="*/ 1175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17" h="1175">
                  <a:moveTo>
                    <a:pt x="149" y="1175"/>
                  </a:moveTo>
                  <a:lnTo>
                    <a:pt x="239" y="1174"/>
                  </a:lnTo>
                  <a:lnTo>
                    <a:pt x="326" y="1167"/>
                  </a:lnTo>
                  <a:lnTo>
                    <a:pt x="412" y="1154"/>
                  </a:lnTo>
                  <a:lnTo>
                    <a:pt x="495" y="1136"/>
                  </a:lnTo>
                  <a:lnTo>
                    <a:pt x="575" y="1112"/>
                  </a:lnTo>
                  <a:lnTo>
                    <a:pt x="655" y="1082"/>
                  </a:lnTo>
                  <a:lnTo>
                    <a:pt x="731" y="1047"/>
                  </a:lnTo>
                  <a:lnTo>
                    <a:pt x="806" y="1005"/>
                  </a:lnTo>
                  <a:lnTo>
                    <a:pt x="878" y="959"/>
                  </a:lnTo>
                  <a:lnTo>
                    <a:pt x="948" y="905"/>
                  </a:lnTo>
                  <a:lnTo>
                    <a:pt x="1016" y="847"/>
                  </a:lnTo>
                  <a:lnTo>
                    <a:pt x="1080" y="785"/>
                  </a:lnTo>
                  <a:lnTo>
                    <a:pt x="1139" y="719"/>
                  </a:lnTo>
                  <a:lnTo>
                    <a:pt x="1192" y="651"/>
                  </a:lnTo>
                  <a:lnTo>
                    <a:pt x="1239" y="581"/>
                  </a:lnTo>
                  <a:lnTo>
                    <a:pt x="1281" y="507"/>
                  </a:lnTo>
                  <a:lnTo>
                    <a:pt x="1318" y="431"/>
                  </a:lnTo>
                  <a:lnTo>
                    <a:pt x="1349" y="352"/>
                  </a:lnTo>
                  <a:lnTo>
                    <a:pt x="1374" y="272"/>
                  </a:lnTo>
                  <a:lnTo>
                    <a:pt x="1394" y="188"/>
                  </a:lnTo>
                  <a:lnTo>
                    <a:pt x="1409" y="101"/>
                  </a:lnTo>
                  <a:lnTo>
                    <a:pt x="1417" y="12"/>
                  </a:lnTo>
                  <a:lnTo>
                    <a:pt x="1091" y="161"/>
                  </a:lnTo>
                  <a:lnTo>
                    <a:pt x="768" y="0"/>
                  </a:lnTo>
                  <a:lnTo>
                    <a:pt x="759" y="57"/>
                  </a:lnTo>
                  <a:lnTo>
                    <a:pt x="745" y="110"/>
                  </a:lnTo>
                  <a:lnTo>
                    <a:pt x="726" y="162"/>
                  </a:lnTo>
                  <a:lnTo>
                    <a:pt x="703" y="210"/>
                  </a:lnTo>
                  <a:lnTo>
                    <a:pt x="676" y="256"/>
                  </a:lnTo>
                  <a:lnTo>
                    <a:pt x="643" y="300"/>
                  </a:lnTo>
                  <a:lnTo>
                    <a:pt x="607" y="342"/>
                  </a:lnTo>
                  <a:lnTo>
                    <a:pt x="566" y="381"/>
                  </a:lnTo>
                  <a:lnTo>
                    <a:pt x="521" y="416"/>
                  </a:lnTo>
                  <a:lnTo>
                    <a:pt x="475" y="446"/>
                  </a:lnTo>
                  <a:lnTo>
                    <a:pt x="427" y="472"/>
                  </a:lnTo>
                  <a:lnTo>
                    <a:pt x="377" y="493"/>
                  </a:lnTo>
                  <a:lnTo>
                    <a:pt x="326" y="509"/>
                  </a:lnTo>
                  <a:lnTo>
                    <a:pt x="273" y="520"/>
                  </a:lnTo>
                  <a:lnTo>
                    <a:pt x="217" y="526"/>
                  </a:lnTo>
                  <a:lnTo>
                    <a:pt x="161" y="527"/>
                  </a:lnTo>
                  <a:lnTo>
                    <a:pt x="161" y="527"/>
                  </a:lnTo>
                  <a:lnTo>
                    <a:pt x="0" y="849"/>
                  </a:lnTo>
                  <a:lnTo>
                    <a:pt x="149" y="1175"/>
                  </a:lnTo>
                  <a:lnTo>
                    <a:pt x="149" y="1175"/>
                  </a:lnTo>
                  <a:close/>
                </a:path>
              </a:pathLst>
            </a:custGeom>
            <a:solidFill>
              <a:schemeClr val="accent2"/>
            </a:solidFill>
            <a:ln w="0">
              <a:noFill/>
              <a:prstDash val="solid"/>
              <a:round/>
              <a:headEnd/>
              <a:tailEnd/>
            </a:ln>
            <a:extLst>
              <a:ext uri="{91240B29-F687-4F45-9708-019B960494DF}">
                <a14:hiddenLine xmlns:a14="http://schemas.microsoft.com/office/drawing/2010/main" w="0">
                  <a:solidFill>
                    <a:srgbClr val="C0C0C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9">
              <a:extLst>
                <a:ext uri="{FF2B5EF4-FFF2-40B4-BE49-F238E27FC236}">
                  <a16:creationId xmlns:a16="http://schemas.microsoft.com/office/drawing/2014/main" id="{E9642589-C129-40E8-86C5-C69171D2586E}"/>
                </a:ext>
              </a:extLst>
            </p:cNvPr>
            <p:cNvSpPr>
              <a:spLocks/>
            </p:cNvSpPr>
            <p:nvPr/>
          </p:nvSpPr>
          <p:spPr bwMode="auto">
            <a:xfrm>
              <a:off x="4113213" y="3838576"/>
              <a:ext cx="1865313" cy="2249488"/>
            </a:xfrm>
            <a:custGeom>
              <a:avLst/>
              <a:gdLst>
                <a:gd name="T0" fmla="*/ 0 w 1175"/>
                <a:gd name="T1" fmla="*/ 149 h 1417"/>
                <a:gd name="T2" fmla="*/ 1 w 1175"/>
                <a:gd name="T3" fmla="*/ 239 h 1417"/>
                <a:gd name="T4" fmla="*/ 8 w 1175"/>
                <a:gd name="T5" fmla="*/ 326 h 1417"/>
                <a:gd name="T6" fmla="*/ 21 w 1175"/>
                <a:gd name="T7" fmla="*/ 412 h 1417"/>
                <a:gd name="T8" fmla="*/ 39 w 1175"/>
                <a:gd name="T9" fmla="*/ 495 h 1417"/>
                <a:gd name="T10" fmla="*/ 63 w 1175"/>
                <a:gd name="T11" fmla="*/ 575 h 1417"/>
                <a:gd name="T12" fmla="*/ 93 w 1175"/>
                <a:gd name="T13" fmla="*/ 655 h 1417"/>
                <a:gd name="T14" fmla="*/ 128 w 1175"/>
                <a:gd name="T15" fmla="*/ 731 h 1417"/>
                <a:gd name="T16" fmla="*/ 170 w 1175"/>
                <a:gd name="T17" fmla="*/ 806 h 1417"/>
                <a:gd name="T18" fmla="*/ 216 w 1175"/>
                <a:gd name="T19" fmla="*/ 878 h 1417"/>
                <a:gd name="T20" fmla="*/ 270 w 1175"/>
                <a:gd name="T21" fmla="*/ 948 h 1417"/>
                <a:gd name="T22" fmla="*/ 328 w 1175"/>
                <a:gd name="T23" fmla="*/ 1016 h 1417"/>
                <a:gd name="T24" fmla="*/ 390 w 1175"/>
                <a:gd name="T25" fmla="*/ 1080 h 1417"/>
                <a:gd name="T26" fmla="*/ 456 w 1175"/>
                <a:gd name="T27" fmla="*/ 1139 h 1417"/>
                <a:gd name="T28" fmla="*/ 524 w 1175"/>
                <a:gd name="T29" fmla="*/ 1192 h 1417"/>
                <a:gd name="T30" fmla="*/ 594 w 1175"/>
                <a:gd name="T31" fmla="*/ 1239 h 1417"/>
                <a:gd name="T32" fmla="*/ 668 w 1175"/>
                <a:gd name="T33" fmla="*/ 1281 h 1417"/>
                <a:gd name="T34" fmla="*/ 744 w 1175"/>
                <a:gd name="T35" fmla="*/ 1318 h 1417"/>
                <a:gd name="T36" fmla="*/ 823 w 1175"/>
                <a:gd name="T37" fmla="*/ 1349 h 1417"/>
                <a:gd name="T38" fmla="*/ 903 w 1175"/>
                <a:gd name="T39" fmla="*/ 1374 h 1417"/>
                <a:gd name="T40" fmla="*/ 987 w 1175"/>
                <a:gd name="T41" fmla="*/ 1394 h 1417"/>
                <a:gd name="T42" fmla="*/ 1074 w 1175"/>
                <a:gd name="T43" fmla="*/ 1409 h 1417"/>
                <a:gd name="T44" fmla="*/ 1163 w 1175"/>
                <a:gd name="T45" fmla="*/ 1417 h 1417"/>
                <a:gd name="T46" fmla="*/ 1014 w 1175"/>
                <a:gd name="T47" fmla="*/ 1091 h 1417"/>
                <a:gd name="T48" fmla="*/ 1175 w 1175"/>
                <a:gd name="T49" fmla="*/ 768 h 1417"/>
                <a:gd name="T50" fmla="*/ 1118 w 1175"/>
                <a:gd name="T51" fmla="*/ 759 h 1417"/>
                <a:gd name="T52" fmla="*/ 1065 w 1175"/>
                <a:gd name="T53" fmla="*/ 745 h 1417"/>
                <a:gd name="T54" fmla="*/ 1013 w 1175"/>
                <a:gd name="T55" fmla="*/ 726 h 1417"/>
                <a:gd name="T56" fmla="*/ 965 w 1175"/>
                <a:gd name="T57" fmla="*/ 703 h 1417"/>
                <a:gd name="T58" fmla="*/ 919 w 1175"/>
                <a:gd name="T59" fmla="*/ 676 h 1417"/>
                <a:gd name="T60" fmla="*/ 875 w 1175"/>
                <a:gd name="T61" fmla="*/ 643 h 1417"/>
                <a:gd name="T62" fmla="*/ 833 w 1175"/>
                <a:gd name="T63" fmla="*/ 607 h 1417"/>
                <a:gd name="T64" fmla="*/ 794 w 1175"/>
                <a:gd name="T65" fmla="*/ 566 h 1417"/>
                <a:gd name="T66" fmla="*/ 759 w 1175"/>
                <a:gd name="T67" fmla="*/ 521 h 1417"/>
                <a:gd name="T68" fmla="*/ 729 w 1175"/>
                <a:gd name="T69" fmla="*/ 475 h 1417"/>
                <a:gd name="T70" fmla="*/ 703 w 1175"/>
                <a:gd name="T71" fmla="*/ 427 h 1417"/>
                <a:gd name="T72" fmla="*/ 682 w 1175"/>
                <a:gd name="T73" fmla="*/ 377 h 1417"/>
                <a:gd name="T74" fmla="*/ 666 w 1175"/>
                <a:gd name="T75" fmla="*/ 326 h 1417"/>
                <a:gd name="T76" fmla="*/ 655 w 1175"/>
                <a:gd name="T77" fmla="*/ 273 h 1417"/>
                <a:gd name="T78" fmla="*/ 649 w 1175"/>
                <a:gd name="T79" fmla="*/ 217 h 1417"/>
                <a:gd name="T80" fmla="*/ 648 w 1175"/>
                <a:gd name="T81" fmla="*/ 161 h 1417"/>
                <a:gd name="T82" fmla="*/ 648 w 1175"/>
                <a:gd name="T83" fmla="*/ 161 h 1417"/>
                <a:gd name="T84" fmla="*/ 326 w 1175"/>
                <a:gd name="T85" fmla="*/ 0 h 1417"/>
                <a:gd name="T86" fmla="*/ 0 w 1175"/>
                <a:gd name="T87" fmla="*/ 149 h 1417"/>
                <a:gd name="T88" fmla="*/ 0 w 1175"/>
                <a:gd name="T89" fmla="*/ 149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5" h="1417">
                  <a:moveTo>
                    <a:pt x="0" y="149"/>
                  </a:moveTo>
                  <a:lnTo>
                    <a:pt x="1" y="239"/>
                  </a:lnTo>
                  <a:lnTo>
                    <a:pt x="8" y="326"/>
                  </a:lnTo>
                  <a:lnTo>
                    <a:pt x="21" y="412"/>
                  </a:lnTo>
                  <a:lnTo>
                    <a:pt x="39" y="495"/>
                  </a:lnTo>
                  <a:lnTo>
                    <a:pt x="63" y="575"/>
                  </a:lnTo>
                  <a:lnTo>
                    <a:pt x="93" y="655"/>
                  </a:lnTo>
                  <a:lnTo>
                    <a:pt x="128" y="731"/>
                  </a:lnTo>
                  <a:lnTo>
                    <a:pt x="170" y="806"/>
                  </a:lnTo>
                  <a:lnTo>
                    <a:pt x="216" y="878"/>
                  </a:lnTo>
                  <a:lnTo>
                    <a:pt x="270" y="948"/>
                  </a:lnTo>
                  <a:lnTo>
                    <a:pt x="328" y="1016"/>
                  </a:lnTo>
                  <a:lnTo>
                    <a:pt x="390" y="1080"/>
                  </a:lnTo>
                  <a:lnTo>
                    <a:pt x="456" y="1139"/>
                  </a:lnTo>
                  <a:lnTo>
                    <a:pt x="524" y="1192"/>
                  </a:lnTo>
                  <a:lnTo>
                    <a:pt x="594" y="1239"/>
                  </a:lnTo>
                  <a:lnTo>
                    <a:pt x="668" y="1281"/>
                  </a:lnTo>
                  <a:lnTo>
                    <a:pt x="744" y="1318"/>
                  </a:lnTo>
                  <a:lnTo>
                    <a:pt x="823" y="1349"/>
                  </a:lnTo>
                  <a:lnTo>
                    <a:pt x="903" y="1374"/>
                  </a:lnTo>
                  <a:lnTo>
                    <a:pt x="987" y="1394"/>
                  </a:lnTo>
                  <a:lnTo>
                    <a:pt x="1074" y="1409"/>
                  </a:lnTo>
                  <a:lnTo>
                    <a:pt x="1163" y="1417"/>
                  </a:lnTo>
                  <a:lnTo>
                    <a:pt x="1014" y="1091"/>
                  </a:lnTo>
                  <a:lnTo>
                    <a:pt x="1175" y="768"/>
                  </a:lnTo>
                  <a:lnTo>
                    <a:pt x="1118" y="759"/>
                  </a:lnTo>
                  <a:lnTo>
                    <a:pt x="1065" y="745"/>
                  </a:lnTo>
                  <a:lnTo>
                    <a:pt x="1013" y="726"/>
                  </a:lnTo>
                  <a:lnTo>
                    <a:pt x="965" y="703"/>
                  </a:lnTo>
                  <a:lnTo>
                    <a:pt x="919" y="676"/>
                  </a:lnTo>
                  <a:lnTo>
                    <a:pt x="875" y="643"/>
                  </a:lnTo>
                  <a:lnTo>
                    <a:pt x="833" y="607"/>
                  </a:lnTo>
                  <a:lnTo>
                    <a:pt x="794" y="566"/>
                  </a:lnTo>
                  <a:lnTo>
                    <a:pt x="759" y="521"/>
                  </a:lnTo>
                  <a:lnTo>
                    <a:pt x="729" y="475"/>
                  </a:lnTo>
                  <a:lnTo>
                    <a:pt x="703" y="427"/>
                  </a:lnTo>
                  <a:lnTo>
                    <a:pt x="682" y="377"/>
                  </a:lnTo>
                  <a:lnTo>
                    <a:pt x="666" y="326"/>
                  </a:lnTo>
                  <a:lnTo>
                    <a:pt x="655" y="273"/>
                  </a:lnTo>
                  <a:lnTo>
                    <a:pt x="649" y="217"/>
                  </a:lnTo>
                  <a:lnTo>
                    <a:pt x="648" y="161"/>
                  </a:lnTo>
                  <a:lnTo>
                    <a:pt x="648" y="161"/>
                  </a:lnTo>
                  <a:lnTo>
                    <a:pt x="326" y="0"/>
                  </a:lnTo>
                  <a:lnTo>
                    <a:pt x="0" y="149"/>
                  </a:lnTo>
                  <a:lnTo>
                    <a:pt x="0" y="149"/>
                  </a:lnTo>
                  <a:close/>
                </a:path>
              </a:pathLst>
            </a:custGeom>
            <a:solidFill>
              <a:schemeClr val="accent1"/>
            </a:solidFill>
            <a:ln w="0">
              <a:noFill/>
              <a:prstDash val="solid"/>
              <a:round/>
              <a:headEnd/>
              <a:tailEnd/>
            </a:ln>
            <a:extLst>
              <a:ext uri="{91240B29-F687-4F45-9708-019B960494DF}">
                <a14:hiddenLine xmlns:a14="http://schemas.microsoft.com/office/drawing/2010/main" w="0">
                  <a:solidFill>
                    <a:srgbClr val="C0C0C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10">
              <a:extLst>
                <a:ext uri="{FF2B5EF4-FFF2-40B4-BE49-F238E27FC236}">
                  <a16:creationId xmlns:a16="http://schemas.microsoft.com/office/drawing/2014/main" id="{605B1CB5-7F5D-431E-BDFD-0F87008503E0}"/>
                </a:ext>
              </a:extLst>
            </p:cNvPr>
            <p:cNvSpPr>
              <a:spLocks/>
            </p:cNvSpPr>
            <p:nvPr/>
          </p:nvSpPr>
          <p:spPr bwMode="auto">
            <a:xfrm>
              <a:off x="3217036" y="2132013"/>
              <a:ext cx="3150428" cy="1028700"/>
            </a:xfrm>
            <a:custGeom>
              <a:avLst/>
              <a:gdLst>
                <a:gd name="T0" fmla="*/ 2490 w 2639"/>
                <a:gd name="T1" fmla="*/ 0 h 648"/>
                <a:gd name="T2" fmla="*/ 2468 w 2639"/>
                <a:gd name="T3" fmla="*/ 0 h 648"/>
                <a:gd name="T4" fmla="*/ 0 w 2639"/>
                <a:gd name="T5" fmla="*/ 0 h 648"/>
                <a:gd name="T6" fmla="*/ 0 w 2639"/>
                <a:gd name="T7" fmla="*/ 647 h 648"/>
                <a:gd name="T8" fmla="*/ 2468 w 2639"/>
                <a:gd name="T9" fmla="*/ 647 h 648"/>
                <a:gd name="T10" fmla="*/ 2478 w 2639"/>
                <a:gd name="T11" fmla="*/ 648 h 648"/>
                <a:gd name="T12" fmla="*/ 2478 w 2639"/>
                <a:gd name="T13" fmla="*/ 648 h 648"/>
                <a:gd name="T14" fmla="*/ 2639 w 2639"/>
                <a:gd name="T15" fmla="*/ 326 h 648"/>
                <a:gd name="T16" fmla="*/ 2490 w 2639"/>
                <a:gd name="T17" fmla="*/ 0 h 648"/>
                <a:gd name="T18" fmla="*/ 2490 w 2639"/>
                <a:gd name="T19" fmla="*/ 0 h 648"/>
                <a:gd name="connsiteX0" fmla="*/ 9435 w 10000"/>
                <a:gd name="connsiteY0" fmla="*/ 0 h 10000"/>
                <a:gd name="connsiteX1" fmla="*/ 9352 w 10000"/>
                <a:gd name="connsiteY1" fmla="*/ 0 h 10000"/>
                <a:gd name="connsiteX2" fmla="*/ 2440 w 10000"/>
                <a:gd name="connsiteY2" fmla="*/ 15 h 10000"/>
                <a:gd name="connsiteX3" fmla="*/ 0 w 10000"/>
                <a:gd name="connsiteY3" fmla="*/ 0 h 10000"/>
                <a:gd name="connsiteX4" fmla="*/ 0 w 10000"/>
                <a:gd name="connsiteY4" fmla="*/ 9985 h 10000"/>
                <a:gd name="connsiteX5" fmla="*/ 9352 w 10000"/>
                <a:gd name="connsiteY5" fmla="*/ 9985 h 10000"/>
                <a:gd name="connsiteX6" fmla="*/ 9390 w 10000"/>
                <a:gd name="connsiteY6" fmla="*/ 10000 h 10000"/>
                <a:gd name="connsiteX7" fmla="*/ 9390 w 10000"/>
                <a:gd name="connsiteY7" fmla="*/ 10000 h 10000"/>
                <a:gd name="connsiteX8" fmla="*/ 10000 w 10000"/>
                <a:gd name="connsiteY8" fmla="*/ 5031 h 10000"/>
                <a:gd name="connsiteX9" fmla="*/ 9435 w 10000"/>
                <a:gd name="connsiteY9" fmla="*/ 0 h 10000"/>
                <a:gd name="connsiteX10" fmla="*/ 9435 w 10000"/>
                <a:gd name="connsiteY10" fmla="*/ 0 h 10000"/>
                <a:gd name="connsiteX0" fmla="*/ 9435 w 10000"/>
                <a:gd name="connsiteY0" fmla="*/ 0 h 10000"/>
                <a:gd name="connsiteX1" fmla="*/ 9352 w 10000"/>
                <a:gd name="connsiteY1" fmla="*/ 0 h 10000"/>
                <a:gd name="connsiteX2" fmla="*/ 2440 w 10000"/>
                <a:gd name="connsiteY2" fmla="*/ 15 h 10000"/>
                <a:gd name="connsiteX3" fmla="*/ 0 w 10000"/>
                <a:gd name="connsiteY3" fmla="*/ 0 h 10000"/>
                <a:gd name="connsiteX4" fmla="*/ 0 w 10000"/>
                <a:gd name="connsiteY4" fmla="*/ 9985 h 10000"/>
                <a:gd name="connsiteX5" fmla="*/ 2492 w 10000"/>
                <a:gd name="connsiteY5" fmla="*/ 9857 h 10000"/>
                <a:gd name="connsiteX6" fmla="*/ 9352 w 10000"/>
                <a:gd name="connsiteY6" fmla="*/ 9985 h 10000"/>
                <a:gd name="connsiteX7" fmla="*/ 9390 w 10000"/>
                <a:gd name="connsiteY7" fmla="*/ 10000 h 10000"/>
                <a:gd name="connsiteX8" fmla="*/ 9390 w 10000"/>
                <a:gd name="connsiteY8" fmla="*/ 10000 h 10000"/>
                <a:gd name="connsiteX9" fmla="*/ 10000 w 10000"/>
                <a:gd name="connsiteY9" fmla="*/ 5031 h 10000"/>
                <a:gd name="connsiteX10" fmla="*/ 9435 w 10000"/>
                <a:gd name="connsiteY10" fmla="*/ 0 h 10000"/>
                <a:gd name="connsiteX11" fmla="*/ 9435 w 10000"/>
                <a:gd name="connsiteY11" fmla="*/ 0 h 10000"/>
                <a:gd name="connsiteX0" fmla="*/ 9435 w 10000"/>
                <a:gd name="connsiteY0" fmla="*/ 0 h 10000"/>
                <a:gd name="connsiteX1" fmla="*/ 9352 w 10000"/>
                <a:gd name="connsiteY1" fmla="*/ 0 h 10000"/>
                <a:gd name="connsiteX2" fmla="*/ 2440 w 10000"/>
                <a:gd name="connsiteY2" fmla="*/ 15 h 10000"/>
                <a:gd name="connsiteX3" fmla="*/ 0 w 10000"/>
                <a:gd name="connsiteY3" fmla="*/ 9985 h 10000"/>
                <a:gd name="connsiteX4" fmla="*/ 2492 w 10000"/>
                <a:gd name="connsiteY4" fmla="*/ 9857 h 10000"/>
                <a:gd name="connsiteX5" fmla="*/ 9352 w 10000"/>
                <a:gd name="connsiteY5" fmla="*/ 9985 h 10000"/>
                <a:gd name="connsiteX6" fmla="*/ 9390 w 10000"/>
                <a:gd name="connsiteY6" fmla="*/ 10000 h 10000"/>
                <a:gd name="connsiteX7" fmla="*/ 9390 w 10000"/>
                <a:gd name="connsiteY7" fmla="*/ 10000 h 10000"/>
                <a:gd name="connsiteX8" fmla="*/ 10000 w 10000"/>
                <a:gd name="connsiteY8" fmla="*/ 5031 h 10000"/>
                <a:gd name="connsiteX9" fmla="*/ 9435 w 10000"/>
                <a:gd name="connsiteY9" fmla="*/ 0 h 10000"/>
                <a:gd name="connsiteX10" fmla="*/ 9435 w 10000"/>
                <a:gd name="connsiteY10" fmla="*/ 0 h 10000"/>
                <a:gd name="connsiteX0" fmla="*/ 6995 w 7560"/>
                <a:gd name="connsiteY0" fmla="*/ 0 h 10000"/>
                <a:gd name="connsiteX1" fmla="*/ 6912 w 7560"/>
                <a:gd name="connsiteY1" fmla="*/ 0 h 10000"/>
                <a:gd name="connsiteX2" fmla="*/ 0 w 7560"/>
                <a:gd name="connsiteY2" fmla="*/ 15 h 10000"/>
                <a:gd name="connsiteX3" fmla="*/ 52 w 7560"/>
                <a:gd name="connsiteY3" fmla="*/ 9857 h 10000"/>
                <a:gd name="connsiteX4" fmla="*/ 6912 w 7560"/>
                <a:gd name="connsiteY4" fmla="*/ 9985 h 10000"/>
                <a:gd name="connsiteX5" fmla="*/ 6950 w 7560"/>
                <a:gd name="connsiteY5" fmla="*/ 10000 h 10000"/>
                <a:gd name="connsiteX6" fmla="*/ 6950 w 7560"/>
                <a:gd name="connsiteY6" fmla="*/ 10000 h 10000"/>
                <a:gd name="connsiteX7" fmla="*/ 7560 w 7560"/>
                <a:gd name="connsiteY7" fmla="*/ 5031 h 10000"/>
                <a:gd name="connsiteX8" fmla="*/ 6995 w 7560"/>
                <a:gd name="connsiteY8" fmla="*/ 0 h 10000"/>
                <a:gd name="connsiteX9" fmla="*/ 6995 w 7560"/>
                <a:gd name="connsiteY9" fmla="*/ 0 h 10000"/>
                <a:gd name="connsiteX0" fmla="*/ 9253 w 10000"/>
                <a:gd name="connsiteY0" fmla="*/ 0 h 10000"/>
                <a:gd name="connsiteX1" fmla="*/ 9143 w 10000"/>
                <a:gd name="connsiteY1" fmla="*/ 0 h 10000"/>
                <a:gd name="connsiteX2" fmla="*/ 0 w 10000"/>
                <a:gd name="connsiteY2" fmla="*/ 15 h 10000"/>
                <a:gd name="connsiteX3" fmla="*/ 69 w 10000"/>
                <a:gd name="connsiteY3" fmla="*/ 9857 h 10000"/>
                <a:gd name="connsiteX4" fmla="*/ 9143 w 10000"/>
                <a:gd name="connsiteY4" fmla="*/ 9985 h 10000"/>
                <a:gd name="connsiteX5" fmla="*/ 9193 w 10000"/>
                <a:gd name="connsiteY5" fmla="*/ 10000 h 10000"/>
                <a:gd name="connsiteX6" fmla="*/ 9193 w 10000"/>
                <a:gd name="connsiteY6" fmla="*/ 10000 h 10000"/>
                <a:gd name="connsiteX7" fmla="*/ 10000 w 10000"/>
                <a:gd name="connsiteY7" fmla="*/ 5031 h 10000"/>
                <a:gd name="connsiteX8" fmla="*/ 9253 w 10000"/>
                <a:gd name="connsiteY8" fmla="*/ 0 h 10000"/>
                <a:gd name="connsiteX9" fmla="*/ 9253 w 10000"/>
                <a:gd name="connsiteY9" fmla="*/ 0 h 10000"/>
                <a:gd name="connsiteX0" fmla="*/ 9219 w 9966"/>
                <a:gd name="connsiteY0" fmla="*/ 0 h 10000"/>
                <a:gd name="connsiteX1" fmla="*/ 9109 w 9966"/>
                <a:gd name="connsiteY1" fmla="*/ 0 h 10000"/>
                <a:gd name="connsiteX2" fmla="*/ 0 w 9966"/>
                <a:gd name="connsiteY2" fmla="*/ 15 h 10000"/>
                <a:gd name="connsiteX3" fmla="*/ 35 w 9966"/>
                <a:gd name="connsiteY3" fmla="*/ 9857 h 10000"/>
                <a:gd name="connsiteX4" fmla="*/ 9109 w 9966"/>
                <a:gd name="connsiteY4" fmla="*/ 9985 h 10000"/>
                <a:gd name="connsiteX5" fmla="*/ 9159 w 9966"/>
                <a:gd name="connsiteY5" fmla="*/ 10000 h 10000"/>
                <a:gd name="connsiteX6" fmla="*/ 9159 w 9966"/>
                <a:gd name="connsiteY6" fmla="*/ 10000 h 10000"/>
                <a:gd name="connsiteX7" fmla="*/ 9966 w 9966"/>
                <a:gd name="connsiteY7" fmla="*/ 5031 h 10000"/>
                <a:gd name="connsiteX8" fmla="*/ 9219 w 9966"/>
                <a:gd name="connsiteY8" fmla="*/ 0 h 10000"/>
                <a:gd name="connsiteX9" fmla="*/ 9219 w 9966"/>
                <a:gd name="connsiteY9" fmla="*/ 0 h 10000"/>
                <a:gd name="connsiteX0" fmla="*/ 9227 w 9977"/>
                <a:gd name="connsiteY0" fmla="*/ 0 h 10000"/>
                <a:gd name="connsiteX1" fmla="*/ 9117 w 9977"/>
                <a:gd name="connsiteY1" fmla="*/ 0 h 10000"/>
                <a:gd name="connsiteX2" fmla="*/ 0 w 9977"/>
                <a:gd name="connsiteY2" fmla="*/ 15 h 10000"/>
                <a:gd name="connsiteX3" fmla="*/ 12 w 9977"/>
                <a:gd name="connsiteY3" fmla="*/ 9857 h 10000"/>
                <a:gd name="connsiteX4" fmla="*/ 9117 w 9977"/>
                <a:gd name="connsiteY4" fmla="*/ 9985 h 10000"/>
                <a:gd name="connsiteX5" fmla="*/ 9167 w 9977"/>
                <a:gd name="connsiteY5" fmla="*/ 10000 h 10000"/>
                <a:gd name="connsiteX6" fmla="*/ 9167 w 9977"/>
                <a:gd name="connsiteY6" fmla="*/ 10000 h 10000"/>
                <a:gd name="connsiteX7" fmla="*/ 9977 w 9977"/>
                <a:gd name="connsiteY7" fmla="*/ 5031 h 10000"/>
                <a:gd name="connsiteX8" fmla="*/ 9227 w 9977"/>
                <a:gd name="connsiteY8" fmla="*/ 0 h 10000"/>
                <a:gd name="connsiteX9" fmla="*/ 9227 w 9977"/>
                <a:gd name="connsiteY9" fmla="*/ 0 h 10000"/>
                <a:gd name="connsiteX0" fmla="*/ 9259 w 10011"/>
                <a:gd name="connsiteY0" fmla="*/ 0 h 10000"/>
                <a:gd name="connsiteX1" fmla="*/ 9149 w 10011"/>
                <a:gd name="connsiteY1" fmla="*/ 0 h 10000"/>
                <a:gd name="connsiteX2" fmla="*/ 0 w 10011"/>
                <a:gd name="connsiteY2" fmla="*/ 15 h 10000"/>
                <a:gd name="connsiteX3" fmla="*/ 23 w 10011"/>
                <a:gd name="connsiteY3" fmla="*/ 9857 h 10000"/>
                <a:gd name="connsiteX4" fmla="*/ 9149 w 10011"/>
                <a:gd name="connsiteY4" fmla="*/ 9985 h 10000"/>
                <a:gd name="connsiteX5" fmla="*/ 9199 w 10011"/>
                <a:gd name="connsiteY5" fmla="*/ 10000 h 10000"/>
                <a:gd name="connsiteX6" fmla="*/ 9199 w 10011"/>
                <a:gd name="connsiteY6" fmla="*/ 10000 h 10000"/>
                <a:gd name="connsiteX7" fmla="*/ 10011 w 10011"/>
                <a:gd name="connsiteY7" fmla="*/ 5031 h 10000"/>
                <a:gd name="connsiteX8" fmla="*/ 9259 w 10011"/>
                <a:gd name="connsiteY8" fmla="*/ 0 h 10000"/>
                <a:gd name="connsiteX9" fmla="*/ 9259 w 10011"/>
                <a:gd name="connsiteY9" fmla="*/ 0 h 10000"/>
                <a:gd name="connsiteX0" fmla="*/ 9275 w 10027"/>
                <a:gd name="connsiteY0" fmla="*/ 0 h 10000"/>
                <a:gd name="connsiteX1" fmla="*/ 9165 w 10027"/>
                <a:gd name="connsiteY1" fmla="*/ 0 h 10000"/>
                <a:gd name="connsiteX2" fmla="*/ 16 w 10027"/>
                <a:gd name="connsiteY2" fmla="*/ 15 h 10000"/>
                <a:gd name="connsiteX3" fmla="*/ 5 w 10027"/>
                <a:gd name="connsiteY3" fmla="*/ 9892 h 10000"/>
                <a:gd name="connsiteX4" fmla="*/ 9165 w 10027"/>
                <a:gd name="connsiteY4" fmla="*/ 9985 h 10000"/>
                <a:gd name="connsiteX5" fmla="*/ 9215 w 10027"/>
                <a:gd name="connsiteY5" fmla="*/ 10000 h 10000"/>
                <a:gd name="connsiteX6" fmla="*/ 9215 w 10027"/>
                <a:gd name="connsiteY6" fmla="*/ 10000 h 10000"/>
                <a:gd name="connsiteX7" fmla="*/ 10027 w 10027"/>
                <a:gd name="connsiteY7" fmla="*/ 5031 h 10000"/>
                <a:gd name="connsiteX8" fmla="*/ 9275 w 10027"/>
                <a:gd name="connsiteY8" fmla="*/ 0 h 10000"/>
                <a:gd name="connsiteX9" fmla="*/ 9275 w 10027"/>
                <a:gd name="connsiteY9" fmla="*/ 0 h 10000"/>
                <a:gd name="connsiteX0" fmla="*/ 9275 w 10027"/>
                <a:gd name="connsiteY0" fmla="*/ 0 h 10000"/>
                <a:gd name="connsiteX1" fmla="*/ 9165 w 10027"/>
                <a:gd name="connsiteY1" fmla="*/ 0 h 10000"/>
                <a:gd name="connsiteX2" fmla="*/ 16 w 10027"/>
                <a:gd name="connsiteY2" fmla="*/ 15 h 10000"/>
                <a:gd name="connsiteX3" fmla="*/ 5 w 10027"/>
                <a:gd name="connsiteY3" fmla="*/ 9961 h 10000"/>
                <a:gd name="connsiteX4" fmla="*/ 9165 w 10027"/>
                <a:gd name="connsiteY4" fmla="*/ 9985 h 10000"/>
                <a:gd name="connsiteX5" fmla="*/ 9215 w 10027"/>
                <a:gd name="connsiteY5" fmla="*/ 10000 h 10000"/>
                <a:gd name="connsiteX6" fmla="*/ 9215 w 10027"/>
                <a:gd name="connsiteY6" fmla="*/ 10000 h 10000"/>
                <a:gd name="connsiteX7" fmla="*/ 10027 w 10027"/>
                <a:gd name="connsiteY7" fmla="*/ 5031 h 10000"/>
                <a:gd name="connsiteX8" fmla="*/ 9275 w 10027"/>
                <a:gd name="connsiteY8" fmla="*/ 0 h 10000"/>
                <a:gd name="connsiteX9" fmla="*/ 9275 w 10027"/>
                <a:gd name="connsiteY9" fmla="*/ 0 h 10000"/>
                <a:gd name="connsiteX0" fmla="*/ 9270 w 10022"/>
                <a:gd name="connsiteY0" fmla="*/ 0 h 10000"/>
                <a:gd name="connsiteX1" fmla="*/ 9160 w 10022"/>
                <a:gd name="connsiteY1" fmla="*/ 0 h 10000"/>
                <a:gd name="connsiteX2" fmla="*/ 11 w 10022"/>
                <a:gd name="connsiteY2" fmla="*/ 15 h 10000"/>
                <a:gd name="connsiteX3" fmla="*/ 0 w 10022"/>
                <a:gd name="connsiteY3" fmla="*/ 9961 h 10000"/>
                <a:gd name="connsiteX4" fmla="*/ 9160 w 10022"/>
                <a:gd name="connsiteY4" fmla="*/ 9985 h 10000"/>
                <a:gd name="connsiteX5" fmla="*/ 9210 w 10022"/>
                <a:gd name="connsiteY5" fmla="*/ 10000 h 10000"/>
                <a:gd name="connsiteX6" fmla="*/ 9210 w 10022"/>
                <a:gd name="connsiteY6" fmla="*/ 10000 h 10000"/>
                <a:gd name="connsiteX7" fmla="*/ 10022 w 10022"/>
                <a:gd name="connsiteY7" fmla="*/ 5031 h 10000"/>
                <a:gd name="connsiteX8" fmla="*/ 9270 w 10022"/>
                <a:gd name="connsiteY8" fmla="*/ 0 h 10000"/>
                <a:gd name="connsiteX9" fmla="*/ 9270 w 10022"/>
                <a:gd name="connsiteY9" fmla="*/ 0 h 10000"/>
                <a:gd name="connsiteX0" fmla="*/ 9259 w 10011"/>
                <a:gd name="connsiteY0" fmla="*/ 0 h 10000"/>
                <a:gd name="connsiteX1" fmla="*/ 9149 w 10011"/>
                <a:gd name="connsiteY1" fmla="*/ 0 h 10000"/>
                <a:gd name="connsiteX2" fmla="*/ 0 w 10011"/>
                <a:gd name="connsiteY2" fmla="*/ 15 h 10000"/>
                <a:gd name="connsiteX3" fmla="*/ 0 w 10011"/>
                <a:gd name="connsiteY3" fmla="*/ 9996 h 10000"/>
                <a:gd name="connsiteX4" fmla="*/ 9149 w 10011"/>
                <a:gd name="connsiteY4" fmla="*/ 9985 h 10000"/>
                <a:gd name="connsiteX5" fmla="*/ 9199 w 10011"/>
                <a:gd name="connsiteY5" fmla="*/ 10000 h 10000"/>
                <a:gd name="connsiteX6" fmla="*/ 9199 w 10011"/>
                <a:gd name="connsiteY6" fmla="*/ 10000 h 10000"/>
                <a:gd name="connsiteX7" fmla="*/ 10011 w 10011"/>
                <a:gd name="connsiteY7" fmla="*/ 5031 h 10000"/>
                <a:gd name="connsiteX8" fmla="*/ 9259 w 10011"/>
                <a:gd name="connsiteY8" fmla="*/ 0 h 10000"/>
                <a:gd name="connsiteX9" fmla="*/ 9259 w 10011"/>
                <a:gd name="connsiteY9" fmla="*/ 0 h 10000"/>
                <a:gd name="connsiteX0" fmla="*/ 9261 w 10013"/>
                <a:gd name="connsiteY0" fmla="*/ 0 h 10000"/>
                <a:gd name="connsiteX1" fmla="*/ 9151 w 10013"/>
                <a:gd name="connsiteY1" fmla="*/ 0 h 10000"/>
                <a:gd name="connsiteX2" fmla="*/ 2 w 10013"/>
                <a:gd name="connsiteY2" fmla="*/ 15 h 10000"/>
                <a:gd name="connsiteX3" fmla="*/ 2 w 10013"/>
                <a:gd name="connsiteY3" fmla="*/ 9996 h 10000"/>
                <a:gd name="connsiteX4" fmla="*/ 9151 w 10013"/>
                <a:gd name="connsiteY4" fmla="*/ 9985 h 10000"/>
                <a:gd name="connsiteX5" fmla="*/ 9201 w 10013"/>
                <a:gd name="connsiteY5" fmla="*/ 10000 h 10000"/>
                <a:gd name="connsiteX6" fmla="*/ 9201 w 10013"/>
                <a:gd name="connsiteY6" fmla="*/ 10000 h 10000"/>
                <a:gd name="connsiteX7" fmla="*/ 10013 w 10013"/>
                <a:gd name="connsiteY7" fmla="*/ 5031 h 10000"/>
                <a:gd name="connsiteX8" fmla="*/ 9261 w 10013"/>
                <a:gd name="connsiteY8" fmla="*/ 0 h 10000"/>
                <a:gd name="connsiteX9" fmla="*/ 9261 w 10013"/>
                <a:gd name="connsiteY9" fmla="*/ 0 h 10000"/>
                <a:gd name="connsiteX0" fmla="*/ 9261 w 10013"/>
                <a:gd name="connsiteY0" fmla="*/ 0 h 10000"/>
                <a:gd name="connsiteX1" fmla="*/ 9151 w 10013"/>
                <a:gd name="connsiteY1" fmla="*/ 0 h 10000"/>
                <a:gd name="connsiteX2" fmla="*/ 2 w 10013"/>
                <a:gd name="connsiteY2" fmla="*/ 15 h 10000"/>
                <a:gd name="connsiteX3" fmla="*/ 2 w 10013"/>
                <a:gd name="connsiteY3" fmla="*/ 9996 h 10000"/>
                <a:gd name="connsiteX4" fmla="*/ 9151 w 10013"/>
                <a:gd name="connsiteY4" fmla="*/ 9985 h 10000"/>
                <a:gd name="connsiteX5" fmla="*/ 9201 w 10013"/>
                <a:gd name="connsiteY5" fmla="*/ 10000 h 10000"/>
                <a:gd name="connsiteX6" fmla="*/ 9201 w 10013"/>
                <a:gd name="connsiteY6" fmla="*/ 10000 h 10000"/>
                <a:gd name="connsiteX7" fmla="*/ 10013 w 10013"/>
                <a:gd name="connsiteY7" fmla="*/ 5031 h 10000"/>
                <a:gd name="connsiteX8" fmla="*/ 9261 w 10013"/>
                <a:gd name="connsiteY8" fmla="*/ 0 h 10000"/>
                <a:gd name="connsiteX9" fmla="*/ 9261 w 10013"/>
                <a:gd name="connsiteY9" fmla="*/ 0 h 10000"/>
                <a:gd name="connsiteX0" fmla="*/ 9282 w 10034"/>
                <a:gd name="connsiteY0" fmla="*/ 0 h 10000"/>
                <a:gd name="connsiteX1" fmla="*/ 9172 w 10034"/>
                <a:gd name="connsiteY1" fmla="*/ 0 h 10000"/>
                <a:gd name="connsiteX2" fmla="*/ 0 w 10034"/>
                <a:gd name="connsiteY2" fmla="*/ 15 h 10000"/>
                <a:gd name="connsiteX3" fmla="*/ 23 w 10034"/>
                <a:gd name="connsiteY3" fmla="*/ 9996 h 10000"/>
                <a:gd name="connsiteX4" fmla="*/ 9172 w 10034"/>
                <a:gd name="connsiteY4" fmla="*/ 9985 h 10000"/>
                <a:gd name="connsiteX5" fmla="*/ 9222 w 10034"/>
                <a:gd name="connsiteY5" fmla="*/ 10000 h 10000"/>
                <a:gd name="connsiteX6" fmla="*/ 9222 w 10034"/>
                <a:gd name="connsiteY6" fmla="*/ 10000 h 10000"/>
                <a:gd name="connsiteX7" fmla="*/ 10034 w 10034"/>
                <a:gd name="connsiteY7" fmla="*/ 5031 h 10000"/>
                <a:gd name="connsiteX8" fmla="*/ 9282 w 10034"/>
                <a:gd name="connsiteY8" fmla="*/ 0 h 10000"/>
                <a:gd name="connsiteX9" fmla="*/ 9282 w 10034"/>
                <a:gd name="connsiteY9" fmla="*/ 0 h 10000"/>
                <a:gd name="connsiteX0" fmla="*/ 9262 w 10014"/>
                <a:gd name="connsiteY0" fmla="*/ 0 h 10000"/>
                <a:gd name="connsiteX1" fmla="*/ 9152 w 10014"/>
                <a:gd name="connsiteY1" fmla="*/ 0 h 10000"/>
                <a:gd name="connsiteX2" fmla="*/ 14 w 10014"/>
                <a:gd name="connsiteY2" fmla="*/ 15 h 10000"/>
                <a:gd name="connsiteX3" fmla="*/ 3 w 10014"/>
                <a:gd name="connsiteY3" fmla="*/ 9996 h 10000"/>
                <a:gd name="connsiteX4" fmla="*/ 9152 w 10014"/>
                <a:gd name="connsiteY4" fmla="*/ 9985 h 10000"/>
                <a:gd name="connsiteX5" fmla="*/ 9202 w 10014"/>
                <a:gd name="connsiteY5" fmla="*/ 10000 h 10000"/>
                <a:gd name="connsiteX6" fmla="*/ 9202 w 10014"/>
                <a:gd name="connsiteY6" fmla="*/ 10000 h 10000"/>
                <a:gd name="connsiteX7" fmla="*/ 10014 w 10014"/>
                <a:gd name="connsiteY7" fmla="*/ 5031 h 10000"/>
                <a:gd name="connsiteX8" fmla="*/ 9262 w 10014"/>
                <a:gd name="connsiteY8" fmla="*/ 0 h 10000"/>
                <a:gd name="connsiteX9" fmla="*/ 9262 w 10014"/>
                <a:gd name="connsiteY9" fmla="*/ 0 h 10000"/>
                <a:gd name="connsiteX0" fmla="*/ 9251 w 10003"/>
                <a:gd name="connsiteY0" fmla="*/ 0 h 10000"/>
                <a:gd name="connsiteX1" fmla="*/ 9141 w 10003"/>
                <a:gd name="connsiteY1" fmla="*/ 0 h 10000"/>
                <a:gd name="connsiteX2" fmla="*/ 3 w 10003"/>
                <a:gd name="connsiteY2" fmla="*/ 15 h 10000"/>
                <a:gd name="connsiteX3" fmla="*/ 3 w 10003"/>
                <a:gd name="connsiteY3" fmla="*/ 9996 h 10000"/>
                <a:gd name="connsiteX4" fmla="*/ 9141 w 10003"/>
                <a:gd name="connsiteY4" fmla="*/ 9985 h 10000"/>
                <a:gd name="connsiteX5" fmla="*/ 9191 w 10003"/>
                <a:gd name="connsiteY5" fmla="*/ 10000 h 10000"/>
                <a:gd name="connsiteX6" fmla="*/ 9191 w 10003"/>
                <a:gd name="connsiteY6" fmla="*/ 10000 h 10000"/>
                <a:gd name="connsiteX7" fmla="*/ 10003 w 10003"/>
                <a:gd name="connsiteY7" fmla="*/ 5031 h 10000"/>
                <a:gd name="connsiteX8" fmla="*/ 9251 w 10003"/>
                <a:gd name="connsiteY8" fmla="*/ 0 h 10000"/>
                <a:gd name="connsiteX9" fmla="*/ 9251 w 10003"/>
                <a:gd name="connsiteY9" fmla="*/ 0 h 10000"/>
                <a:gd name="connsiteX0" fmla="*/ 9257 w 10009"/>
                <a:gd name="connsiteY0" fmla="*/ 0 h 10000"/>
                <a:gd name="connsiteX1" fmla="*/ 9147 w 10009"/>
                <a:gd name="connsiteY1" fmla="*/ 0 h 10000"/>
                <a:gd name="connsiteX2" fmla="*/ 9 w 10009"/>
                <a:gd name="connsiteY2" fmla="*/ 15 h 10000"/>
                <a:gd name="connsiteX3" fmla="*/ 9 w 10009"/>
                <a:gd name="connsiteY3" fmla="*/ 9996 h 10000"/>
                <a:gd name="connsiteX4" fmla="*/ 9147 w 10009"/>
                <a:gd name="connsiteY4" fmla="*/ 9985 h 10000"/>
                <a:gd name="connsiteX5" fmla="*/ 9197 w 10009"/>
                <a:gd name="connsiteY5" fmla="*/ 10000 h 10000"/>
                <a:gd name="connsiteX6" fmla="*/ 9197 w 10009"/>
                <a:gd name="connsiteY6" fmla="*/ 10000 h 10000"/>
                <a:gd name="connsiteX7" fmla="*/ 10009 w 10009"/>
                <a:gd name="connsiteY7" fmla="*/ 5031 h 10000"/>
                <a:gd name="connsiteX8" fmla="*/ 9257 w 10009"/>
                <a:gd name="connsiteY8" fmla="*/ 0 h 10000"/>
                <a:gd name="connsiteX9" fmla="*/ 9257 w 10009"/>
                <a:gd name="connsiteY9" fmla="*/ 0 h 10000"/>
                <a:gd name="connsiteX0" fmla="*/ 9252 w 10004"/>
                <a:gd name="connsiteY0" fmla="*/ 0 h 10000"/>
                <a:gd name="connsiteX1" fmla="*/ 9142 w 10004"/>
                <a:gd name="connsiteY1" fmla="*/ 0 h 10000"/>
                <a:gd name="connsiteX2" fmla="*/ 4 w 10004"/>
                <a:gd name="connsiteY2" fmla="*/ 15 h 10000"/>
                <a:gd name="connsiteX3" fmla="*/ 4 w 10004"/>
                <a:gd name="connsiteY3" fmla="*/ 9996 h 10000"/>
                <a:gd name="connsiteX4" fmla="*/ 9142 w 10004"/>
                <a:gd name="connsiteY4" fmla="*/ 9985 h 10000"/>
                <a:gd name="connsiteX5" fmla="*/ 9192 w 10004"/>
                <a:gd name="connsiteY5" fmla="*/ 10000 h 10000"/>
                <a:gd name="connsiteX6" fmla="*/ 9192 w 10004"/>
                <a:gd name="connsiteY6" fmla="*/ 10000 h 10000"/>
                <a:gd name="connsiteX7" fmla="*/ 10004 w 10004"/>
                <a:gd name="connsiteY7" fmla="*/ 5031 h 10000"/>
                <a:gd name="connsiteX8" fmla="*/ 9252 w 10004"/>
                <a:gd name="connsiteY8" fmla="*/ 0 h 10000"/>
                <a:gd name="connsiteX9" fmla="*/ 9252 w 10004"/>
                <a:gd name="connsiteY9"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4" h="10000">
                  <a:moveTo>
                    <a:pt x="9252" y="0"/>
                  </a:moveTo>
                  <a:lnTo>
                    <a:pt x="9142" y="0"/>
                  </a:lnTo>
                  <a:lnTo>
                    <a:pt x="4" y="15"/>
                  </a:lnTo>
                  <a:cubicBezTo>
                    <a:pt x="-8" y="114"/>
                    <a:pt x="15" y="10139"/>
                    <a:pt x="4" y="9996"/>
                  </a:cubicBezTo>
                  <a:lnTo>
                    <a:pt x="9142" y="9985"/>
                  </a:lnTo>
                  <a:lnTo>
                    <a:pt x="9192" y="10000"/>
                  </a:lnTo>
                  <a:lnTo>
                    <a:pt x="9192" y="10000"/>
                  </a:lnTo>
                  <a:lnTo>
                    <a:pt x="10004" y="5031"/>
                  </a:lnTo>
                  <a:lnTo>
                    <a:pt x="9252" y="0"/>
                  </a:lnTo>
                  <a:lnTo>
                    <a:pt x="9252" y="0"/>
                  </a:lnTo>
                  <a:close/>
                </a:path>
              </a:pathLst>
            </a:custGeom>
            <a:solidFill>
              <a:schemeClr val="tx2"/>
            </a:solidFill>
            <a:ln w="0">
              <a:noFill/>
              <a:prstDash val="solid"/>
              <a:round/>
              <a:headEnd/>
              <a:tailEnd/>
            </a:ln>
            <a:extLst>
              <a:ext uri="{91240B29-F687-4F45-9708-019B960494DF}">
                <a14:hiddenLine xmlns:a14="http://schemas.microsoft.com/office/drawing/2010/main" w="0">
                  <a:solidFill>
                    <a:srgbClr val="C0C0C0"/>
                  </a:solidFill>
                  <a:prstDash val="solid"/>
                  <a:round/>
                  <a:headEnd/>
                  <a:tailEnd/>
                </a14:hiddenLine>
              </a:ext>
            </a:extLst>
          </p:spPr>
          <p:txBody>
            <a:bodyPr vert="horz" wrap="square" lIns="91440" tIns="45720" rIns="91440" bIns="45720" numCol="1" anchor="ctr" anchorCtr="0" compatLnSpc="1">
              <a:prstTxWarp prst="textNoShape">
                <a:avLst/>
              </a:prstTxWarp>
            </a:bodyPr>
            <a:lstStyle/>
            <a:p>
              <a:pPr algn="ctr"/>
              <a:r>
                <a:rPr lang="en-US" b="1" dirty="0">
                  <a:solidFill>
                    <a:srgbClr val="FFFFFF"/>
                  </a:solidFill>
                </a:rPr>
                <a:t>All teams not yet allocated to championship field</a:t>
              </a:r>
            </a:p>
          </p:txBody>
        </p:sp>
      </p:grpSp>
      <p:sp>
        <p:nvSpPr>
          <p:cNvPr id="10" name="TextBox 9">
            <a:extLst>
              <a:ext uri="{FF2B5EF4-FFF2-40B4-BE49-F238E27FC236}">
                <a16:creationId xmlns:a16="http://schemas.microsoft.com/office/drawing/2014/main" id="{9D673F6D-AA3E-4F1B-BECC-67139816D83B}"/>
              </a:ext>
            </a:extLst>
          </p:cNvPr>
          <p:cNvSpPr txBox="1"/>
          <p:nvPr/>
        </p:nvSpPr>
        <p:spPr>
          <a:xfrm>
            <a:off x="7162800" y="1784895"/>
            <a:ext cx="4457699" cy="19460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roup is formed based on highest CSR</a:t>
            </a:r>
          </a:p>
          <a:p>
            <a:pPr algn="ctr"/>
            <a:endParaRPr lang="en-US" dirty="0">
              <a:solidFill>
                <a:srgbClr val="575757"/>
              </a:solidFill>
            </a:endParaRPr>
          </a:p>
          <a:p>
            <a:pPr algn="ctr"/>
            <a:r>
              <a:rPr lang="en-US" b="1" dirty="0">
                <a:solidFill>
                  <a:srgbClr val="575757"/>
                </a:solidFill>
              </a:rPr>
              <a:t># teams in group</a:t>
            </a:r>
            <a:br>
              <a:rPr lang="en-US" b="1" dirty="0">
                <a:solidFill>
                  <a:srgbClr val="575757"/>
                </a:solidFill>
              </a:rPr>
            </a:br>
            <a:r>
              <a:rPr lang="en-US" b="1" dirty="0">
                <a:solidFill>
                  <a:srgbClr val="575757"/>
                </a:solidFill>
              </a:rPr>
              <a:t> = </a:t>
            </a:r>
          </a:p>
          <a:p>
            <a:pPr algn="ctr"/>
            <a:r>
              <a:rPr lang="en-US" b="1" dirty="0">
                <a:solidFill>
                  <a:srgbClr val="575757"/>
                </a:solidFill>
              </a:rPr>
              <a:t>2x available berths remaining</a:t>
            </a:r>
          </a:p>
        </p:txBody>
      </p:sp>
      <p:sp>
        <p:nvSpPr>
          <p:cNvPr id="11" name="TextBox 10">
            <a:extLst>
              <a:ext uri="{FF2B5EF4-FFF2-40B4-BE49-F238E27FC236}">
                <a16:creationId xmlns:a16="http://schemas.microsoft.com/office/drawing/2014/main" id="{802464FB-009D-4C73-B0FA-78E9514C4D1C}"/>
              </a:ext>
            </a:extLst>
          </p:cNvPr>
          <p:cNvSpPr txBox="1"/>
          <p:nvPr/>
        </p:nvSpPr>
        <p:spPr>
          <a:xfrm>
            <a:off x="7402719" y="4276748"/>
            <a:ext cx="3977861" cy="941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Individual members order the group of teams by performance in that discipline</a:t>
            </a:r>
          </a:p>
        </p:txBody>
      </p:sp>
      <p:sp>
        <p:nvSpPr>
          <p:cNvPr id="14" name="TextBox 13">
            <a:extLst>
              <a:ext uri="{FF2B5EF4-FFF2-40B4-BE49-F238E27FC236}">
                <a16:creationId xmlns:a16="http://schemas.microsoft.com/office/drawing/2014/main" id="{3F9A2152-5F90-4A38-AEFD-24D4848BA8A5}"/>
              </a:ext>
            </a:extLst>
          </p:cNvPr>
          <p:cNvSpPr txBox="1"/>
          <p:nvPr/>
        </p:nvSpPr>
        <p:spPr>
          <a:xfrm>
            <a:off x="7323290" y="5764302"/>
            <a:ext cx="3852710" cy="941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Sorted by average, top 1/3 to championship field</a:t>
            </a:r>
          </a:p>
        </p:txBody>
      </p:sp>
      <p:sp>
        <p:nvSpPr>
          <p:cNvPr id="15" name="TextBox 14">
            <a:extLst>
              <a:ext uri="{FF2B5EF4-FFF2-40B4-BE49-F238E27FC236}">
                <a16:creationId xmlns:a16="http://schemas.microsoft.com/office/drawing/2014/main" id="{55A14AB1-4450-42CD-98BC-A0335E09F182}"/>
              </a:ext>
            </a:extLst>
          </p:cNvPr>
          <p:cNvSpPr txBox="1"/>
          <p:nvPr/>
        </p:nvSpPr>
        <p:spPr>
          <a:xfrm>
            <a:off x="51754" y="5110732"/>
            <a:ext cx="3402646" cy="941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Remained returned to CSR list</a:t>
            </a:r>
          </a:p>
        </p:txBody>
      </p:sp>
      <p:grpSp>
        <p:nvGrpSpPr>
          <p:cNvPr id="19" name="Group 18">
            <a:extLst>
              <a:ext uri="{FF2B5EF4-FFF2-40B4-BE49-F238E27FC236}">
                <a16:creationId xmlns:a16="http://schemas.microsoft.com/office/drawing/2014/main" id="{6F7CAFEB-1EAA-47C0-97E0-CA1D8F4ED3A5}"/>
              </a:ext>
            </a:extLst>
          </p:cNvPr>
          <p:cNvGrpSpPr/>
          <p:nvPr/>
        </p:nvGrpSpPr>
        <p:grpSpPr>
          <a:xfrm rot="5400000">
            <a:off x="9238566" y="1964328"/>
            <a:ext cx="306171" cy="4079081"/>
            <a:chOff x="5942914" y="2081213"/>
            <a:chExt cx="306171" cy="4079081"/>
          </a:xfrm>
        </p:grpSpPr>
        <p:cxnSp>
          <p:nvCxnSpPr>
            <p:cNvPr id="20" name="Straight Connector 19">
              <a:extLst>
                <a:ext uri="{FF2B5EF4-FFF2-40B4-BE49-F238E27FC236}">
                  <a16:creationId xmlns:a16="http://schemas.microsoft.com/office/drawing/2014/main" id="{83CE7CE7-5242-4DC4-BBEA-074DF4C9782D}"/>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D5E14B82-AD9C-453A-A6C5-31D18E3685D3}"/>
                </a:ext>
              </a:extLst>
            </p:cNvPr>
            <p:cNvGrpSpPr/>
            <p:nvPr/>
          </p:nvGrpSpPr>
          <p:grpSpPr>
            <a:xfrm>
              <a:off x="5942914" y="3967299"/>
              <a:ext cx="306171" cy="306910"/>
              <a:chOff x="5937564" y="3833745"/>
              <a:chExt cx="306171" cy="306910"/>
            </a:xfrm>
          </p:grpSpPr>
          <p:sp>
            <p:nvSpPr>
              <p:cNvPr id="22" name="Freeform 94">
                <a:extLst>
                  <a:ext uri="{FF2B5EF4-FFF2-40B4-BE49-F238E27FC236}">
                    <a16:creationId xmlns:a16="http://schemas.microsoft.com/office/drawing/2014/main" id="{1F76504E-4BB9-4B97-934B-1B78148A063C}"/>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3" name="Freeform 95">
                <a:extLst>
                  <a:ext uri="{FF2B5EF4-FFF2-40B4-BE49-F238E27FC236}">
                    <a16:creationId xmlns:a16="http://schemas.microsoft.com/office/drawing/2014/main" id="{D0D59660-8E09-4E6E-AD56-D1DE4589B522}"/>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24" name="Group 23">
            <a:extLst>
              <a:ext uri="{FF2B5EF4-FFF2-40B4-BE49-F238E27FC236}">
                <a16:creationId xmlns:a16="http://schemas.microsoft.com/office/drawing/2014/main" id="{0646E6E3-CA7C-4C73-8086-3FC75370027C}"/>
              </a:ext>
            </a:extLst>
          </p:cNvPr>
          <p:cNvGrpSpPr/>
          <p:nvPr/>
        </p:nvGrpSpPr>
        <p:grpSpPr>
          <a:xfrm rot="5400000">
            <a:off x="9238566" y="3451883"/>
            <a:ext cx="306171" cy="4079081"/>
            <a:chOff x="5942914" y="2081213"/>
            <a:chExt cx="306171" cy="4079081"/>
          </a:xfrm>
        </p:grpSpPr>
        <p:cxnSp>
          <p:nvCxnSpPr>
            <p:cNvPr id="25" name="Straight Connector 24">
              <a:extLst>
                <a:ext uri="{FF2B5EF4-FFF2-40B4-BE49-F238E27FC236}">
                  <a16:creationId xmlns:a16="http://schemas.microsoft.com/office/drawing/2014/main" id="{68900BDE-6ABD-4EEF-8F25-D053EA898D0A}"/>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F1AD2F99-AE6E-4BCE-8E9C-376EC0B6AB91}"/>
                </a:ext>
              </a:extLst>
            </p:cNvPr>
            <p:cNvGrpSpPr/>
            <p:nvPr/>
          </p:nvGrpSpPr>
          <p:grpSpPr>
            <a:xfrm>
              <a:off x="5942914" y="3967299"/>
              <a:ext cx="306171" cy="306910"/>
              <a:chOff x="5937564" y="3833745"/>
              <a:chExt cx="306171" cy="306910"/>
            </a:xfrm>
          </p:grpSpPr>
          <p:sp>
            <p:nvSpPr>
              <p:cNvPr id="27" name="Freeform 94">
                <a:extLst>
                  <a:ext uri="{FF2B5EF4-FFF2-40B4-BE49-F238E27FC236}">
                    <a16:creationId xmlns:a16="http://schemas.microsoft.com/office/drawing/2014/main" id="{547A68F7-3B82-492E-9BC4-A0927402220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8" name="Freeform 95">
                <a:extLst>
                  <a:ext uri="{FF2B5EF4-FFF2-40B4-BE49-F238E27FC236}">
                    <a16:creationId xmlns:a16="http://schemas.microsoft.com/office/drawing/2014/main" id="{AD71E4A2-9512-473E-AA49-8209B65BA639}"/>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custDataLst>
      <p:tags r:id="rId2"/>
    </p:custDataLst>
    <p:extLst>
      <p:ext uri="{BB962C8B-B14F-4D97-AF65-F5344CB8AC3E}">
        <p14:creationId xmlns:p14="http://schemas.microsoft.com/office/powerpoint/2010/main" val="3697301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ABD41F-4057-42C0-B496-01676C4F5C3C}"/>
              </a:ext>
            </a:extLst>
          </p:cNvPr>
          <p:cNvGraphicFramePr>
            <a:graphicFrameLocks noChangeAspect="1"/>
          </p:cNvGraphicFramePr>
          <p:nvPr>
            <p:custDataLst>
              <p:tags r:id="rId3"/>
            </p:custDataLst>
            <p:extLst>
              <p:ext uri="{D42A27DB-BD31-4B8C-83A1-F6EECF244321}">
                <p14:modId xmlns:p14="http://schemas.microsoft.com/office/powerpoint/2010/main" val="1520434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32"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88BCE67-3C59-455E-8FA9-D75291DE25AC}"/>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3" name="Picture Placeholder 2">
            <a:extLst>
              <a:ext uri="{FF2B5EF4-FFF2-40B4-BE49-F238E27FC236}">
                <a16:creationId xmlns:a16="http://schemas.microsoft.com/office/drawing/2014/main" id="{F7826259-54AA-43FE-A150-B1565248239E}"/>
              </a:ext>
            </a:extLst>
          </p:cNvPr>
          <p:cNvPicPr>
            <a:picLocks noGrp="1" noChangeAspect="1"/>
          </p:cNvPicPr>
          <p:nvPr>
            <p:ph type="pic" sz="quarter" idx="14"/>
          </p:nvPr>
        </p:nvPicPr>
        <p:blipFill rotWithShape="1">
          <a:blip r:embed="rId9"/>
          <a:srcRect l="-32" r="50438"/>
          <a:stretch/>
        </p:blipFill>
        <p:spPr>
          <a:xfrm>
            <a:off x="6092021" y="0"/>
            <a:ext cx="6099977" cy="6858000"/>
          </a:xfrm>
        </p:spPr>
      </p:pic>
      <p:sp>
        <p:nvSpPr>
          <p:cNvPr id="4" name="Title 3"/>
          <p:cNvSpPr>
            <a:spLocks noGrp="1"/>
          </p:cNvSpPr>
          <p:nvPr>
            <p:ph type="title"/>
          </p:nvPr>
        </p:nvSpPr>
        <p:spPr/>
        <p:txBody>
          <a:bodyPr/>
          <a:lstStyle/>
          <a:p>
            <a:r>
              <a:rPr lang="en-US" dirty="0"/>
              <a:t>Example Selection Rounds 1-3</a:t>
            </a:r>
          </a:p>
        </p:txBody>
      </p:sp>
    </p:spTree>
    <p:custDataLst>
      <p:tags r:id="rId2"/>
    </p:custDataLst>
    <p:extLst>
      <p:ext uri="{BB962C8B-B14F-4D97-AF65-F5344CB8AC3E}">
        <p14:creationId xmlns:p14="http://schemas.microsoft.com/office/powerpoint/2010/main" val="25796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9122FE-07BB-4D1D-98FB-64C34B4E63A0}"/>
              </a:ext>
            </a:extLst>
          </p:cNvPr>
          <p:cNvGraphicFramePr>
            <a:graphicFrameLocks noChangeAspect="1"/>
          </p:cNvGraphicFramePr>
          <p:nvPr>
            <p:custDataLst>
              <p:tags r:id="rId2"/>
            </p:custDataLst>
            <p:extLst>
              <p:ext uri="{D42A27DB-BD31-4B8C-83A1-F6EECF244321}">
                <p14:modId xmlns:p14="http://schemas.microsoft.com/office/powerpoint/2010/main" val="426001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6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1FE9E9D-80F8-4BDB-AB36-56FC943842F4}"/>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grpSp>
        <p:nvGrpSpPr>
          <p:cNvPr id="8" name="Group 7">
            <a:extLst>
              <a:ext uri="{FF2B5EF4-FFF2-40B4-BE49-F238E27FC236}">
                <a16:creationId xmlns:a16="http://schemas.microsoft.com/office/drawing/2014/main" id="{93136E3F-8DFD-474A-A53D-654F92D31F67}"/>
              </a:ext>
            </a:extLst>
          </p:cNvPr>
          <p:cNvGrpSpPr/>
          <p:nvPr/>
        </p:nvGrpSpPr>
        <p:grpSpPr>
          <a:xfrm>
            <a:off x="2597200" y="817902"/>
            <a:ext cx="6997601" cy="5222195"/>
            <a:chOff x="3672059" y="1500144"/>
            <a:chExt cx="4847887" cy="3789450"/>
          </a:xfrm>
        </p:grpSpPr>
        <p:sp>
          <p:nvSpPr>
            <p:cNvPr id="9" name="Freeform 5">
              <a:extLst>
                <a:ext uri="{FF2B5EF4-FFF2-40B4-BE49-F238E27FC236}">
                  <a16:creationId xmlns:a16="http://schemas.microsoft.com/office/drawing/2014/main" id="{E026EE05-1070-4DC2-B26B-6DDA77191267}"/>
                </a:ext>
              </a:extLst>
            </p:cNvPr>
            <p:cNvSpPr>
              <a:spLocks noEditPoints="1"/>
            </p:cNvSpPr>
            <p:nvPr/>
          </p:nvSpPr>
          <p:spPr bwMode="auto">
            <a:xfrm>
              <a:off x="3672059" y="1500144"/>
              <a:ext cx="4847887" cy="1257884"/>
            </a:xfrm>
            <a:custGeom>
              <a:avLst/>
              <a:gdLst>
                <a:gd name="T0" fmla="*/ 1990 w 2006"/>
                <a:gd name="T1" fmla="*/ 339 h 533"/>
                <a:gd name="T2" fmla="*/ 1010 w 2006"/>
                <a:gd name="T3" fmla="*/ 1 h 533"/>
                <a:gd name="T4" fmla="*/ 996 w 2006"/>
                <a:gd name="T5" fmla="*/ 1 h 533"/>
                <a:gd name="T6" fmla="*/ 17 w 2006"/>
                <a:gd name="T7" fmla="*/ 339 h 533"/>
                <a:gd name="T8" fmla="*/ 2 w 2006"/>
                <a:gd name="T9" fmla="*/ 364 h 533"/>
                <a:gd name="T10" fmla="*/ 24 w 2006"/>
                <a:gd name="T11" fmla="*/ 382 h 533"/>
                <a:gd name="T12" fmla="*/ 204 w 2006"/>
                <a:gd name="T13" fmla="*/ 382 h 533"/>
                <a:gd name="T14" fmla="*/ 204 w 2006"/>
                <a:gd name="T15" fmla="*/ 511 h 533"/>
                <a:gd name="T16" fmla="*/ 226 w 2006"/>
                <a:gd name="T17" fmla="*/ 533 h 533"/>
                <a:gd name="T18" fmla="*/ 1780 w 2006"/>
                <a:gd name="T19" fmla="*/ 533 h 533"/>
                <a:gd name="T20" fmla="*/ 1802 w 2006"/>
                <a:gd name="T21" fmla="*/ 511 h 533"/>
                <a:gd name="T22" fmla="*/ 1802 w 2006"/>
                <a:gd name="T23" fmla="*/ 382 h 533"/>
                <a:gd name="T24" fmla="*/ 1982 w 2006"/>
                <a:gd name="T25" fmla="*/ 382 h 533"/>
                <a:gd name="T26" fmla="*/ 2004 w 2006"/>
                <a:gd name="T27" fmla="*/ 364 h 533"/>
                <a:gd name="T28" fmla="*/ 1990 w 2006"/>
                <a:gd name="T29" fmla="*/ 339 h 533"/>
                <a:gd name="T30" fmla="*/ 1758 w 2006"/>
                <a:gd name="T31" fmla="*/ 489 h 533"/>
                <a:gd name="T32" fmla="*/ 248 w 2006"/>
                <a:gd name="T33" fmla="*/ 489 h 533"/>
                <a:gd name="T34" fmla="*/ 248 w 2006"/>
                <a:gd name="T35" fmla="*/ 382 h 533"/>
                <a:gd name="T36" fmla="*/ 1758 w 2006"/>
                <a:gd name="T37" fmla="*/ 382 h 533"/>
                <a:gd name="T38" fmla="*/ 1758 w 2006"/>
                <a:gd name="T39" fmla="*/ 489 h 533"/>
                <a:gd name="T40" fmla="*/ 155 w 2006"/>
                <a:gd name="T41" fmla="*/ 338 h 533"/>
                <a:gd name="T42" fmla="*/ 1003 w 2006"/>
                <a:gd name="T43" fmla="*/ 46 h 533"/>
                <a:gd name="T44" fmla="*/ 1851 w 2006"/>
                <a:gd name="T45" fmla="*/ 338 h 533"/>
                <a:gd name="T46" fmla="*/ 155 w 2006"/>
                <a:gd name="T47" fmla="*/ 338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6" h="533">
                  <a:moveTo>
                    <a:pt x="1990" y="339"/>
                  </a:moveTo>
                  <a:cubicBezTo>
                    <a:pt x="1010" y="1"/>
                    <a:pt x="1010" y="1"/>
                    <a:pt x="1010" y="1"/>
                  </a:cubicBezTo>
                  <a:cubicBezTo>
                    <a:pt x="1006" y="0"/>
                    <a:pt x="1001" y="0"/>
                    <a:pt x="996" y="1"/>
                  </a:cubicBezTo>
                  <a:cubicBezTo>
                    <a:pt x="17" y="339"/>
                    <a:pt x="17" y="339"/>
                    <a:pt x="17" y="339"/>
                  </a:cubicBezTo>
                  <a:cubicBezTo>
                    <a:pt x="7" y="343"/>
                    <a:pt x="0" y="353"/>
                    <a:pt x="2" y="364"/>
                  </a:cubicBezTo>
                  <a:cubicBezTo>
                    <a:pt x="4" y="374"/>
                    <a:pt x="13" y="382"/>
                    <a:pt x="24" y="382"/>
                  </a:cubicBezTo>
                  <a:cubicBezTo>
                    <a:pt x="204" y="382"/>
                    <a:pt x="204" y="382"/>
                    <a:pt x="204" y="382"/>
                  </a:cubicBezTo>
                  <a:cubicBezTo>
                    <a:pt x="204" y="511"/>
                    <a:pt x="204" y="511"/>
                    <a:pt x="204" y="511"/>
                  </a:cubicBezTo>
                  <a:cubicBezTo>
                    <a:pt x="204" y="523"/>
                    <a:pt x="214" y="533"/>
                    <a:pt x="226" y="533"/>
                  </a:cubicBezTo>
                  <a:cubicBezTo>
                    <a:pt x="1780" y="533"/>
                    <a:pt x="1780" y="533"/>
                    <a:pt x="1780" y="533"/>
                  </a:cubicBezTo>
                  <a:cubicBezTo>
                    <a:pt x="1793" y="533"/>
                    <a:pt x="1802" y="523"/>
                    <a:pt x="1802" y="511"/>
                  </a:cubicBezTo>
                  <a:cubicBezTo>
                    <a:pt x="1802" y="382"/>
                    <a:pt x="1802" y="382"/>
                    <a:pt x="1802" y="382"/>
                  </a:cubicBezTo>
                  <a:cubicBezTo>
                    <a:pt x="1982" y="382"/>
                    <a:pt x="1982" y="382"/>
                    <a:pt x="1982" y="382"/>
                  </a:cubicBezTo>
                  <a:cubicBezTo>
                    <a:pt x="1993" y="382"/>
                    <a:pt x="2002" y="374"/>
                    <a:pt x="2004" y="364"/>
                  </a:cubicBezTo>
                  <a:cubicBezTo>
                    <a:pt x="2006" y="353"/>
                    <a:pt x="2000" y="343"/>
                    <a:pt x="1990" y="339"/>
                  </a:cubicBezTo>
                  <a:close/>
                  <a:moveTo>
                    <a:pt x="1758" y="489"/>
                  </a:moveTo>
                  <a:cubicBezTo>
                    <a:pt x="248" y="489"/>
                    <a:pt x="248" y="489"/>
                    <a:pt x="248" y="489"/>
                  </a:cubicBezTo>
                  <a:cubicBezTo>
                    <a:pt x="248" y="382"/>
                    <a:pt x="248" y="382"/>
                    <a:pt x="248" y="382"/>
                  </a:cubicBezTo>
                  <a:cubicBezTo>
                    <a:pt x="1758" y="382"/>
                    <a:pt x="1758" y="382"/>
                    <a:pt x="1758" y="382"/>
                  </a:cubicBezTo>
                  <a:lnTo>
                    <a:pt x="1758" y="489"/>
                  </a:lnTo>
                  <a:close/>
                  <a:moveTo>
                    <a:pt x="155" y="338"/>
                  </a:moveTo>
                  <a:cubicBezTo>
                    <a:pt x="1003" y="46"/>
                    <a:pt x="1003" y="46"/>
                    <a:pt x="1003" y="46"/>
                  </a:cubicBezTo>
                  <a:cubicBezTo>
                    <a:pt x="1851" y="338"/>
                    <a:pt x="1851" y="338"/>
                    <a:pt x="1851" y="338"/>
                  </a:cubicBezTo>
                  <a:lnTo>
                    <a:pt x="155" y="338"/>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36576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ea typeface="+mn-ea"/>
                <a:cs typeface="+mn-cs"/>
              </a:endParaRPr>
            </a:p>
          </p:txBody>
        </p:sp>
        <p:sp>
          <p:nvSpPr>
            <p:cNvPr id="10" name="Freeform 6">
              <a:extLst>
                <a:ext uri="{FF2B5EF4-FFF2-40B4-BE49-F238E27FC236}">
                  <a16:creationId xmlns:a16="http://schemas.microsoft.com/office/drawing/2014/main" id="{D2071DF2-BD43-428C-8C4E-1B91DEC949AE}"/>
                </a:ext>
              </a:extLst>
            </p:cNvPr>
            <p:cNvSpPr>
              <a:spLocks/>
            </p:cNvSpPr>
            <p:nvPr/>
          </p:nvSpPr>
          <p:spPr bwMode="auto">
            <a:xfrm>
              <a:off x="3999859" y="4687310"/>
              <a:ext cx="4279173" cy="602284"/>
            </a:xfrm>
            <a:custGeom>
              <a:avLst/>
              <a:gdLst>
                <a:gd name="T0" fmla="*/ 1771 w 1771"/>
                <a:gd name="T1" fmla="*/ 149 h 255"/>
                <a:gd name="T2" fmla="*/ 1771 w 1771"/>
                <a:gd name="T3" fmla="*/ 214 h 255"/>
                <a:gd name="T4" fmla="*/ 1731 w 1771"/>
                <a:gd name="T5" fmla="*/ 255 h 255"/>
                <a:gd name="T6" fmla="*/ 40 w 1771"/>
                <a:gd name="T7" fmla="*/ 255 h 255"/>
                <a:gd name="T8" fmla="*/ 0 w 1771"/>
                <a:gd name="T9" fmla="*/ 214 h 255"/>
                <a:gd name="T10" fmla="*/ 0 w 1771"/>
                <a:gd name="T11" fmla="*/ 149 h 255"/>
                <a:gd name="T12" fmla="*/ 40 w 1771"/>
                <a:gd name="T13" fmla="*/ 109 h 255"/>
                <a:gd name="T14" fmla="*/ 82 w 1771"/>
                <a:gd name="T15" fmla="*/ 109 h 255"/>
                <a:gd name="T16" fmla="*/ 79 w 1771"/>
                <a:gd name="T17" fmla="*/ 98 h 255"/>
                <a:gd name="T18" fmla="*/ 79 w 1771"/>
                <a:gd name="T19" fmla="*/ 24 h 255"/>
                <a:gd name="T20" fmla="*/ 102 w 1771"/>
                <a:gd name="T21" fmla="*/ 0 h 255"/>
                <a:gd name="T22" fmla="*/ 1645 w 1771"/>
                <a:gd name="T23" fmla="*/ 0 h 255"/>
                <a:gd name="T24" fmla="*/ 1668 w 1771"/>
                <a:gd name="T25" fmla="*/ 24 h 255"/>
                <a:gd name="T26" fmla="*/ 1668 w 1771"/>
                <a:gd name="T27" fmla="*/ 98 h 255"/>
                <a:gd name="T28" fmla="*/ 1665 w 1771"/>
                <a:gd name="T29" fmla="*/ 109 h 255"/>
                <a:gd name="T30" fmla="*/ 1731 w 1771"/>
                <a:gd name="T31" fmla="*/ 109 h 255"/>
                <a:gd name="T32" fmla="*/ 1771 w 1771"/>
                <a:gd name="T33" fmla="*/ 14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71" h="255">
                  <a:moveTo>
                    <a:pt x="1771" y="149"/>
                  </a:moveTo>
                  <a:cubicBezTo>
                    <a:pt x="1771" y="214"/>
                    <a:pt x="1771" y="214"/>
                    <a:pt x="1771" y="214"/>
                  </a:cubicBezTo>
                  <a:cubicBezTo>
                    <a:pt x="1771" y="237"/>
                    <a:pt x="1753" y="255"/>
                    <a:pt x="1731" y="255"/>
                  </a:cubicBezTo>
                  <a:cubicBezTo>
                    <a:pt x="40" y="255"/>
                    <a:pt x="40" y="255"/>
                    <a:pt x="40" y="255"/>
                  </a:cubicBezTo>
                  <a:cubicBezTo>
                    <a:pt x="18" y="255"/>
                    <a:pt x="0" y="237"/>
                    <a:pt x="0" y="214"/>
                  </a:cubicBezTo>
                  <a:cubicBezTo>
                    <a:pt x="0" y="149"/>
                    <a:pt x="0" y="149"/>
                    <a:pt x="0" y="149"/>
                  </a:cubicBezTo>
                  <a:cubicBezTo>
                    <a:pt x="0" y="127"/>
                    <a:pt x="18" y="109"/>
                    <a:pt x="40" y="109"/>
                  </a:cubicBezTo>
                  <a:cubicBezTo>
                    <a:pt x="82" y="109"/>
                    <a:pt x="82" y="109"/>
                    <a:pt x="82" y="109"/>
                  </a:cubicBezTo>
                  <a:cubicBezTo>
                    <a:pt x="80" y="106"/>
                    <a:pt x="79" y="102"/>
                    <a:pt x="79" y="98"/>
                  </a:cubicBezTo>
                  <a:cubicBezTo>
                    <a:pt x="79" y="24"/>
                    <a:pt x="79" y="24"/>
                    <a:pt x="79" y="24"/>
                  </a:cubicBezTo>
                  <a:cubicBezTo>
                    <a:pt x="79" y="11"/>
                    <a:pt x="89" y="0"/>
                    <a:pt x="102" y="0"/>
                  </a:cubicBezTo>
                  <a:cubicBezTo>
                    <a:pt x="1645" y="0"/>
                    <a:pt x="1645" y="0"/>
                    <a:pt x="1645" y="0"/>
                  </a:cubicBezTo>
                  <a:cubicBezTo>
                    <a:pt x="1657" y="0"/>
                    <a:pt x="1668" y="11"/>
                    <a:pt x="1668" y="24"/>
                  </a:cubicBezTo>
                  <a:cubicBezTo>
                    <a:pt x="1668" y="98"/>
                    <a:pt x="1668" y="98"/>
                    <a:pt x="1668" y="98"/>
                  </a:cubicBezTo>
                  <a:cubicBezTo>
                    <a:pt x="1668" y="102"/>
                    <a:pt x="1667" y="106"/>
                    <a:pt x="1665" y="109"/>
                  </a:cubicBezTo>
                  <a:cubicBezTo>
                    <a:pt x="1731" y="109"/>
                    <a:pt x="1731" y="109"/>
                    <a:pt x="1731" y="109"/>
                  </a:cubicBezTo>
                  <a:cubicBezTo>
                    <a:pt x="1753" y="109"/>
                    <a:pt x="1771" y="127"/>
                    <a:pt x="1771" y="149"/>
                  </a:cubicBez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36576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ea typeface="+mn-ea"/>
                <a:cs typeface="+mn-cs"/>
              </a:endParaRPr>
            </a:p>
          </p:txBody>
        </p:sp>
        <p:sp>
          <p:nvSpPr>
            <p:cNvPr id="11" name="Freeform 7">
              <a:extLst>
                <a:ext uri="{FF2B5EF4-FFF2-40B4-BE49-F238E27FC236}">
                  <a16:creationId xmlns:a16="http://schemas.microsoft.com/office/drawing/2014/main" id="{82B9E9A6-0922-434B-8DFB-D74825A3B5D6}"/>
                </a:ext>
              </a:extLst>
            </p:cNvPr>
            <p:cNvSpPr>
              <a:spLocks/>
            </p:cNvSpPr>
            <p:nvPr/>
          </p:nvSpPr>
          <p:spPr bwMode="auto">
            <a:xfrm>
              <a:off x="4286191" y="2856763"/>
              <a:ext cx="849120" cy="1670596"/>
            </a:xfrm>
            <a:custGeom>
              <a:avLst/>
              <a:gdLst>
                <a:gd name="T0" fmla="*/ 329 w 351"/>
                <a:gd name="T1" fmla="*/ 708 h 708"/>
                <a:gd name="T2" fmla="*/ 23 w 351"/>
                <a:gd name="T3" fmla="*/ 708 h 708"/>
                <a:gd name="T4" fmla="*/ 1 w 351"/>
                <a:gd name="T5" fmla="*/ 685 h 708"/>
                <a:gd name="T6" fmla="*/ 31 w 351"/>
                <a:gd name="T7" fmla="*/ 21 h 708"/>
                <a:gd name="T8" fmla="*/ 53 w 351"/>
                <a:gd name="T9" fmla="*/ 0 h 708"/>
                <a:gd name="T10" fmla="*/ 298 w 351"/>
                <a:gd name="T11" fmla="*/ 0 h 708"/>
                <a:gd name="T12" fmla="*/ 320 w 351"/>
                <a:gd name="T13" fmla="*/ 21 h 708"/>
                <a:gd name="T14" fmla="*/ 351 w 351"/>
                <a:gd name="T15" fmla="*/ 685 h 708"/>
                <a:gd name="T16" fmla="*/ 329 w 351"/>
                <a:gd name="T17"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1" h="708">
                  <a:moveTo>
                    <a:pt x="329" y="708"/>
                  </a:moveTo>
                  <a:cubicBezTo>
                    <a:pt x="23" y="708"/>
                    <a:pt x="23" y="708"/>
                    <a:pt x="23" y="708"/>
                  </a:cubicBezTo>
                  <a:cubicBezTo>
                    <a:pt x="10" y="708"/>
                    <a:pt x="0" y="698"/>
                    <a:pt x="1" y="685"/>
                  </a:cubicBezTo>
                  <a:cubicBezTo>
                    <a:pt x="31" y="21"/>
                    <a:pt x="31" y="21"/>
                    <a:pt x="31" y="21"/>
                  </a:cubicBezTo>
                  <a:cubicBezTo>
                    <a:pt x="32" y="9"/>
                    <a:pt x="42" y="0"/>
                    <a:pt x="53" y="0"/>
                  </a:cubicBezTo>
                  <a:cubicBezTo>
                    <a:pt x="298" y="0"/>
                    <a:pt x="298" y="0"/>
                    <a:pt x="298" y="0"/>
                  </a:cubicBezTo>
                  <a:cubicBezTo>
                    <a:pt x="310" y="0"/>
                    <a:pt x="320" y="9"/>
                    <a:pt x="320" y="21"/>
                  </a:cubicBezTo>
                  <a:cubicBezTo>
                    <a:pt x="351" y="685"/>
                    <a:pt x="351" y="685"/>
                    <a:pt x="351" y="685"/>
                  </a:cubicBezTo>
                  <a:cubicBezTo>
                    <a:pt x="351" y="698"/>
                    <a:pt x="341" y="708"/>
                    <a:pt x="329" y="708"/>
                  </a:cubicBez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36576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ea typeface="+mn-ea"/>
                <a:cs typeface="+mn-cs"/>
              </a:endParaRPr>
            </a:p>
          </p:txBody>
        </p:sp>
        <p:sp>
          <p:nvSpPr>
            <p:cNvPr id="12" name="Freeform 8">
              <a:extLst>
                <a:ext uri="{FF2B5EF4-FFF2-40B4-BE49-F238E27FC236}">
                  <a16:creationId xmlns:a16="http://schemas.microsoft.com/office/drawing/2014/main" id="{D587E8AD-C02B-4FD2-9563-59169F30DDE5}"/>
                </a:ext>
              </a:extLst>
            </p:cNvPr>
            <p:cNvSpPr>
              <a:spLocks/>
            </p:cNvSpPr>
            <p:nvPr/>
          </p:nvSpPr>
          <p:spPr bwMode="auto">
            <a:xfrm>
              <a:off x="5688227" y="2856763"/>
              <a:ext cx="849120" cy="1670596"/>
            </a:xfrm>
            <a:custGeom>
              <a:avLst/>
              <a:gdLst>
                <a:gd name="T0" fmla="*/ 328 w 351"/>
                <a:gd name="T1" fmla="*/ 708 h 708"/>
                <a:gd name="T2" fmla="*/ 22 w 351"/>
                <a:gd name="T3" fmla="*/ 708 h 708"/>
                <a:gd name="T4" fmla="*/ 0 w 351"/>
                <a:gd name="T5" fmla="*/ 685 h 708"/>
                <a:gd name="T6" fmla="*/ 31 w 351"/>
                <a:gd name="T7" fmla="*/ 21 h 708"/>
                <a:gd name="T8" fmla="*/ 53 w 351"/>
                <a:gd name="T9" fmla="*/ 0 h 708"/>
                <a:gd name="T10" fmla="*/ 298 w 351"/>
                <a:gd name="T11" fmla="*/ 0 h 708"/>
                <a:gd name="T12" fmla="*/ 320 w 351"/>
                <a:gd name="T13" fmla="*/ 21 h 708"/>
                <a:gd name="T14" fmla="*/ 350 w 351"/>
                <a:gd name="T15" fmla="*/ 685 h 708"/>
                <a:gd name="T16" fmla="*/ 328 w 351"/>
                <a:gd name="T17"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1" h="708">
                  <a:moveTo>
                    <a:pt x="328" y="708"/>
                  </a:moveTo>
                  <a:cubicBezTo>
                    <a:pt x="22" y="708"/>
                    <a:pt x="22" y="708"/>
                    <a:pt x="22" y="708"/>
                  </a:cubicBezTo>
                  <a:cubicBezTo>
                    <a:pt x="10" y="708"/>
                    <a:pt x="0" y="698"/>
                    <a:pt x="0" y="685"/>
                  </a:cubicBezTo>
                  <a:cubicBezTo>
                    <a:pt x="31" y="21"/>
                    <a:pt x="31" y="21"/>
                    <a:pt x="31" y="21"/>
                  </a:cubicBezTo>
                  <a:cubicBezTo>
                    <a:pt x="31" y="9"/>
                    <a:pt x="41" y="0"/>
                    <a:pt x="53" y="0"/>
                  </a:cubicBezTo>
                  <a:cubicBezTo>
                    <a:pt x="298" y="0"/>
                    <a:pt x="298" y="0"/>
                    <a:pt x="298" y="0"/>
                  </a:cubicBezTo>
                  <a:cubicBezTo>
                    <a:pt x="309" y="0"/>
                    <a:pt x="319" y="9"/>
                    <a:pt x="320" y="21"/>
                  </a:cubicBezTo>
                  <a:cubicBezTo>
                    <a:pt x="350" y="685"/>
                    <a:pt x="350" y="685"/>
                    <a:pt x="350" y="685"/>
                  </a:cubicBezTo>
                  <a:cubicBezTo>
                    <a:pt x="351" y="698"/>
                    <a:pt x="341" y="708"/>
                    <a:pt x="328" y="708"/>
                  </a:cubicBez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36576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ea typeface="+mn-ea"/>
                <a:cs typeface="+mn-cs"/>
              </a:endParaRPr>
            </a:p>
          </p:txBody>
        </p:sp>
        <p:sp>
          <p:nvSpPr>
            <p:cNvPr id="13" name="Freeform 9">
              <a:extLst>
                <a:ext uri="{FF2B5EF4-FFF2-40B4-BE49-F238E27FC236}">
                  <a16:creationId xmlns:a16="http://schemas.microsoft.com/office/drawing/2014/main" id="{30378BCA-AC77-4A5F-B47C-6725A6EADC1A}"/>
                </a:ext>
              </a:extLst>
            </p:cNvPr>
            <p:cNvSpPr>
              <a:spLocks/>
            </p:cNvSpPr>
            <p:nvPr/>
          </p:nvSpPr>
          <p:spPr bwMode="auto">
            <a:xfrm>
              <a:off x="7088289" y="2856763"/>
              <a:ext cx="847146" cy="1670596"/>
            </a:xfrm>
            <a:custGeom>
              <a:avLst/>
              <a:gdLst>
                <a:gd name="T0" fmla="*/ 328 w 351"/>
                <a:gd name="T1" fmla="*/ 708 h 708"/>
                <a:gd name="T2" fmla="*/ 23 w 351"/>
                <a:gd name="T3" fmla="*/ 708 h 708"/>
                <a:gd name="T4" fmla="*/ 1 w 351"/>
                <a:gd name="T5" fmla="*/ 685 h 708"/>
                <a:gd name="T6" fmla="*/ 31 w 351"/>
                <a:gd name="T7" fmla="*/ 21 h 708"/>
                <a:gd name="T8" fmla="*/ 53 w 351"/>
                <a:gd name="T9" fmla="*/ 0 h 708"/>
                <a:gd name="T10" fmla="*/ 298 w 351"/>
                <a:gd name="T11" fmla="*/ 0 h 708"/>
                <a:gd name="T12" fmla="*/ 320 w 351"/>
                <a:gd name="T13" fmla="*/ 21 h 708"/>
                <a:gd name="T14" fmla="*/ 350 w 351"/>
                <a:gd name="T15" fmla="*/ 685 h 708"/>
                <a:gd name="T16" fmla="*/ 328 w 351"/>
                <a:gd name="T17"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1" h="708">
                  <a:moveTo>
                    <a:pt x="328" y="708"/>
                  </a:moveTo>
                  <a:cubicBezTo>
                    <a:pt x="23" y="708"/>
                    <a:pt x="23" y="708"/>
                    <a:pt x="23" y="708"/>
                  </a:cubicBezTo>
                  <a:cubicBezTo>
                    <a:pt x="10" y="708"/>
                    <a:pt x="0" y="698"/>
                    <a:pt x="1" y="685"/>
                  </a:cubicBezTo>
                  <a:cubicBezTo>
                    <a:pt x="31" y="21"/>
                    <a:pt x="31" y="21"/>
                    <a:pt x="31" y="21"/>
                  </a:cubicBezTo>
                  <a:cubicBezTo>
                    <a:pt x="32" y="9"/>
                    <a:pt x="42" y="0"/>
                    <a:pt x="53" y="0"/>
                  </a:cubicBezTo>
                  <a:cubicBezTo>
                    <a:pt x="298" y="0"/>
                    <a:pt x="298" y="0"/>
                    <a:pt x="298" y="0"/>
                  </a:cubicBezTo>
                  <a:cubicBezTo>
                    <a:pt x="310" y="0"/>
                    <a:pt x="319" y="9"/>
                    <a:pt x="320" y="21"/>
                  </a:cubicBezTo>
                  <a:cubicBezTo>
                    <a:pt x="350" y="685"/>
                    <a:pt x="350" y="685"/>
                    <a:pt x="350" y="685"/>
                  </a:cubicBezTo>
                  <a:cubicBezTo>
                    <a:pt x="351" y="698"/>
                    <a:pt x="341" y="708"/>
                    <a:pt x="328" y="708"/>
                  </a:cubicBez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36576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ea typeface="+mn-ea"/>
                <a:cs typeface="+mn-cs"/>
              </a:endParaRPr>
            </a:p>
          </p:txBody>
        </p:sp>
      </p:grpSp>
      <p:grpSp>
        <p:nvGrpSpPr>
          <p:cNvPr id="14" name="Group 13">
            <a:extLst>
              <a:ext uri="{FF2B5EF4-FFF2-40B4-BE49-F238E27FC236}">
                <a16:creationId xmlns:a16="http://schemas.microsoft.com/office/drawing/2014/main" id="{596A7339-F869-4C67-B307-80A7A7D0E909}"/>
              </a:ext>
            </a:extLst>
          </p:cNvPr>
          <p:cNvGrpSpPr>
            <a:grpSpLocks noChangeAspect="1"/>
          </p:cNvGrpSpPr>
          <p:nvPr/>
        </p:nvGrpSpPr>
        <p:grpSpPr>
          <a:xfrm>
            <a:off x="5663173" y="1049034"/>
            <a:ext cx="865653" cy="865653"/>
            <a:chOff x="4210050" y="3194050"/>
            <a:chExt cx="457200" cy="457200"/>
          </a:xfrm>
        </p:grpSpPr>
        <p:sp>
          <p:nvSpPr>
            <p:cNvPr id="15" name="AutoShape 17">
              <a:extLst>
                <a:ext uri="{FF2B5EF4-FFF2-40B4-BE49-F238E27FC236}">
                  <a16:creationId xmlns:a16="http://schemas.microsoft.com/office/drawing/2014/main" id="{357875A5-B0F9-4703-AE6D-45C83D19044B}"/>
                </a:ext>
              </a:extLst>
            </p:cNvPr>
            <p:cNvSpPr>
              <a:spLocks noChangeAspect="1" noChangeArrowheads="1" noTextEdit="1"/>
            </p:cNvSpPr>
            <p:nvPr/>
          </p:nvSpPr>
          <p:spPr bwMode="auto">
            <a:xfrm>
              <a:off x="4210050" y="319405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9">
              <a:extLst>
                <a:ext uri="{FF2B5EF4-FFF2-40B4-BE49-F238E27FC236}">
                  <a16:creationId xmlns:a16="http://schemas.microsoft.com/office/drawing/2014/main" id="{1E016192-2A39-49B8-9610-A7AB7DC04F30}"/>
                </a:ext>
              </a:extLst>
            </p:cNvPr>
            <p:cNvSpPr>
              <a:spLocks noEditPoints="1"/>
            </p:cNvSpPr>
            <p:nvPr/>
          </p:nvSpPr>
          <p:spPr bwMode="auto">
            <a:xfrm>
              <a:off x="4237038" y="3221038"/>
              <a:ext cx="404813" cy="403225"/>
            </a:xfrm>
            <a:custGeom>
              <a:avLst/>
              <a:gdLst>
                <a:gd name="T0" fmla="*/ 402 w 883"/>
                <a:gd name="T1" fmla="*/ 228 h 880"/>
                <a:gd name="T2" fmla="*/ 471 w 883"/>
                <a:gd name="T3" fmla="*/ 298 h 880"/>
                <a:gd name="T4" fmla="*/ 410 w 883"/>
                <a:gd name="T5" fmla="*/ 281 h 880"/>
                <a:gd name="T6" fmla="*/ 398 w 883"/>
                <a:gd name="T7" fmla="*/ 202 h 880"/>
                <a:gd name="T8" fmla="*/ 470 w 883"/>
                <a:gd name="T9" fmla="*/ 191 h 880"/>
                <a:gd name="T10" fmla="*/ 508 w 883"/>
                <a:gd name="T11" fmla="*/ 194 h 880"/>
                <a:gd name="T12" fmla="*/ 531 w 883"/>
                <a:gd name="T13" fmla="*/ 180 h 880"/>
                <a:gd name="T14" fmla="*/ 179 w 883"/>
                <a:gd name="T15" fmla="*/ 350 h 880"/>
                <a:gd name="T16" fmla="*/ 236 w 883"/>
                <a:gd name="T17" fmla="*/ 480 h 880"/>
                <a:gd name="T18" fmla="*/ 248 w 883"/>
                <a:gd name="T19" fmla="*/ 447 h 880"/>
                <a:gd name="T20" fmla="*/ 245 w 883"/>
                <a:gd name="T21" fmla="*/ 320 h 880"/>
                <a:gd name="T22" fmla="*/ 76 w 883"/>
                <a:gd name="T23" fmla="*/ 605 h 880"/>
                <a:gd name="T24" fmla="*/ 268 w 883"/>
                <a:gd name="T25" fmla="*/ 361 h 880"/>
                <a:gd name="T26" fmla="*/ 215 w 883"/>
                <a:gd name="T27" fmla="*/ 501 h 880"/>
                <a:gd name="T28" fmla="*/ 752 w 883"/>
                <a:gd name="T29" fmla="*/ 563 h 880"/>
                <a:gd name="T30" fmla="*/ 700 w 883"/>
                <a:gd name="T31" fmla="*/ 475 h 880"/>
                <a:gd name="T32" fmla="*/ 505 w 883"/>
                <a:gd name="T33" fmla="*/ 328 h 880"/>
                <a:gd name="T34" fmla="*/ 469 w 883"/>
                <a:gd name="T35" fmla="*/ 346 h 880"/>
                <a:gd name="T36" fmla="*/ 457 w 883"/>
                <a:gd name="T37" fmla="*/ 349 h 880"/>
                <a:gd name="T38" fmla="*/ 443 w 883"/>
                <a:gd name="T39" fmla="*/ 345 h 880"/>
                <a:gd name="T40" fmla="*/ 402 w 883"/>
                <a:gd name="T41" fmla="*/ 366 h 880"/>
                <a:gd name="T42" fmla="*/ 354 w 883"/>
                <a:gd name="T43" fmla="*/ 384 h 880"/>
                <a:gd name="T44" fmla="*/ 339 w 883"/>
                <a:gd name="T45" fmla="*/ 402 h 880"/>
                <a:gd name="T46" fmla="*/ 273 w 883"/>
                <a:gd name="T47" fmla="*/ 440 h 880"/>
                <a:gd name="T48" fmla="*/ 482 w 883"/>
                <a:gd name="T49" fmla="*/ 649 h 880"/>
                <a:gd name="T50" fmla="*/ 434 w 883"/>
                <a:gd name="T51" fmla="*/ 618 h 880"/>
                <a:gd name="T52" fmla="*/ 316 w 883"/>
                <a:gd name="T53" fmla="*/ 619 h 880"/>
                <a:gd name="T54" fmla="*/ 483 w 883"/>
                <a:gd name="T55" fmla="*/ 794 h 880"/>
                <a:gd name="T56" fmla="*/ 611 w 883"/>
                <a:gd name="T57" fmla="*/ 779 h 880"/>
                <a:gd name="T58" fmla="*/ 376 w 883"/>
                <a:gd name="T59" fmla="*/ 651 h 880"/>
                <a:gd name="T60" fmla="*/ 418 w 883"/>
                <a:gd name="T61" fmla="*/ 638 h 880"/>
                <a:gd name="T62" fmla="*/ 485 w 883"/>
                <a:gd name="T63" fmla="*/ 675 h 880"/>
                <a:gd name="T64" fmla="*/ 494 w 883"/>
                <a:gd name="T65" fmla="*/ 671 h 880"/>
                <a:gd name="T66" fmla="*/ 505 w 883"/>
                <a:gd name="T67" fmla="*/ 629 h 880"/>
                <a:gd name="T68" fmla="*/ 384 w 883"/>
                <a:gd name="T69" fmla="*/ 523 h 880"/>
                <a:gd name="T70" fmla="*/ 299 w 883"/>
                <a:gd name="T71" fmla="*/ 447 h 880"/>
                <a:gd name="T72" fmla="*/ 304 w 883"/>
                <a:gd name="T73" fmla="*/ 429 h 880"/>
                <a:gd name="T74" fmla="*/ 319 w 883"/>
                <a:gd name="T75" fmla="*/ 423 h 880"/>
                <a:gd name="T76" fmla="*/ 444 w 883"/>
                <a:gd name="T77" fmla="*/ 523 h 880"/>
                <a:gd name="T78" fmla="*/ 489 w 883"/>
                <a:gd name="T79" fmla="*/ 558 h 880"/>
                <a:gd name="T80" fmla="*/ 501 w 883"/>
                <a:gd name="T81" fmla="*/ 542 h 880"/>
                <a:gd name="T82" fmla="*/ 436 w 883"/>
                <a:gd name="T83" fmla="*/ 483 h 880"/>
                <a:gd name="T84" fmla="*/ 368 w 883"/>
                <a:gd name="T85" fmla="*/ 423 h 880"/>
                <a:gd name="T86" fmla="*/ 391 w 883"/>
                <a:gd name="T87" fmla="*/ 400 h 880"/>
                <a:gd name="T88" fmla="*/ 521 w 883"/>
                <a:gd name="T89" fmla="*/ 509 h 880"/>
                <a:gd name="T90" fmla="*/ 544 w 883"/>
                <a:gd name="T91" fmla="*/ 502 h 880"/>
                <a:gd name="T92" fmla="*/ 428 w 883"/>
                <a:gd name="T93" fmla="*/ 397 h 880"/>
                <a:gd name="T94" fmla="*/ 424 w 883"/>
                <a:gd name="T95" fmla="*/ 380 h 880"/>
                <a:gd name="T96" fmla="*/ 428 w 883"/>
                <a:gd name="T97" fmla="*/ 374 h 880"/>
                <a:gd name="T98" fmla="*/ 447 w 883"/>
                <a:gd name="T99" fmla="*/ 373 h 880"/>
                <a:gd name="T100" fmla="*/ 569 w 883"/>
                <a:gd name="T101" fmla="*/ 470 h 880"/>
                <a:gd name="T102" fmla="*/ 584 w 883"/>
                <a:gd name="T103" fmla="*/ 463 h 880"/>
                <a:gd name="T104" fmla="*/ 583 w 883"/>
                <a:gd name="T105" fmla="*/ 450 h 880"/>
                <a:gd name="T106" fmla="*/ 489 w 883"/>
                <a:gd name="T107" fmla="*/ 372 h 880"/>
                <a:gd name="T108" fmla="*/ 493 w 883"/>
                <a:gd name="T109" fmla="*/ 357 h 880"/>
                <a:gd name="T110" fmla="*/ 532 w 883"/>
                <a:gd name="T111" fmla="*/ 376 h 880"/>
                <a:gd name="T112" fmla="*/ 809 w 883"/>
                <a:gd name="T113" fmla="*/ 275 h 880"/>
                <a:gd name="T114" fmla="*/ 728 w 883"/>
                <a:gd name="T115" fmla="*/ 470 h 880"/>
                <a:gd name="T116" fmla="*/ 618 w 883"/>
                <a:gd name="T117" fmla="*/ 106 h 880"/>
                <a:gd name="T118" fmla="*/ 6 w 883"/>
                <a:gd name="T119" fmla="*/ 199 h 880"/>
                <a:gd name="T120" fmla="*/ 88 w 883"/>
                <a:gd name="T121" fmla="*/ 633 h 880"/>
                <a:gd name="T122" fmla="*/ 265 w 883"/>
                <a:gd name="T123" fmla="*/ 792 h 880"/>
                <a:gd name="T124" fmla="*/ 634 w 883"/>
                <a:gd name="T125" fmla="*/ 79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3" h="880">
                  <a:moveTo>
                    <a:pt x="558" y="245"/>
                  </a:moveTo>
                  <a:cubicBezTo>
                    <a:pt x="563" y="249"/>
                    <a:pt x="565" y="255"/>
                    <a:pt x="565" y="261"/>
                  </a:cubicBezTo>
                  <a:cubicBezTo>
                    <a:pt x="565" y="262"/>
                    <a:pt x="565" y="262"/>
                    <a:pt x="565" y="262"/>
                  </a:cubicBezTo>
                  <a:cubicBezTo>
                    <a:pt x="565" y="268"/>
                    <a:pt x="562" y="273"/>
                    <a:pt x="558" y="278"/>
                  </a:cubicBezTo>
                  <a:cubicBezTo>
                    <a:pt x="543" y="292"/>
                    <a:pt x="523" y="298"/>
                    <a:pt x="504" y="295"/>
                  </a:cubicBezTo>
                  <a:cubicBezTo>
                    <a:pt x="494" y="293"/>
                    <a:pt x="484" y="289"/>
                    <a:pt x="476" y="282"/>
                  </a:cubicBezTo>
                  <a:cubicBezTo>
                    <a:pt x="429" y="247"/>
                    <a:pt x="429" y="247"/>
                    <a:pt x="429" y="247"/>
                  </a:cubicBezTo>
                  <a:cubicBezTo>
                    <a:pt x="406" y="229"/>
                    <a:pt x="406" y="229"/>
                    <a:pt x="406" y="229"/>
                  </a:cubicBezTo>
                  <a:cubicBezTo>
                    <a:pt x="405" y="227"/>
                    <a:pt x="404" y="227"/>
                    <a:pt x="402" y="228"/>
                  </a:cubicBezTo>
                  <a:cubicBezTo>
                    <a:pt x="402" y="228"/>
                    <a:pt x="402" y="228"/>
                    <a:pt x="402" y="228"/>
                  </a:cubicBezTo>
                  <a:cubicBezTo>
                    <a:pt x="401" y="228"/>
                    <a:pt x="400" y="229"/>
                    <a:pt x="400" y="229"/>
                  </a:cubicBezTo>
                  <a:cubicBezTo>
                    <a:pt x="399" y="230"/>
                    <a:pt x="399" y="230"/>
                    <a:pt x="399" y="230"/>
                  </a:cubicBezTo>
                  <a:cubicBezTo>
                    <a:pt x="398" y="230"/>
                    <a:pt x="398" y="230"/>
                    <a:pt x="398" y="230"/>
                  </a:cubicBezTo>
                  <a:cubicBezTo>
                    <a:pt x="397" y="233"/>
                    <a:pt x="397" y="235"/>
                    <a:pt x="400" y="237"/>
                  </a:cubicBezTo>
                  <a:cubicBezTo>
                    <a:pt x="414" y="250"/>
                    <a:pt x="414" y="250"/>
                    <a:pt x="414" y="250"/>
                  </a:cubicBezTo>
                  <a:cubicBezTo>
                    <a:pt x="440" y="272"/>
                    <a:pt x="440" y="272"/>
                    <a:pt x="440" y="272"/>
                  </a:cubicBezTo>
                  <a:cubicBezTo>
                    <a:pt x="471" y="298"/>
                    <a:pt x="471" y="298"/>
                    <a:pt x="471" y="298"/>
                  </a:cubicBezTo>
                  <a:cubicBezTo>
                    <a:pt x="471" y="298"/>
                    <a:pt x="471" y="298"/>
                    <a:pt x="471" y="298"/>
                  </a:cubicBezTo>
                  <a:cubicBezTo>
                    <a:pt x="472" y="299"/>
                    <a:pt x="472" y="299"/>
                    <a:pt x="472" y="299"/>
                  </a:cubicBezTo>
                  <a:cubicBezTo>
                    <a:pt x="480" y="306"/>
                    <a:pt x="480" y="306"/>
                    <a:pt x="480" y="306"/>
                  </a:cubicBezTo>
                  <a:cubicBezTo>
                    <a:pt x="474" y="308"/>
                    <a:pt x="468" y="310"/>
                    <a:pt x="464" y="314"/>
                  </a:cubicBezTo>
                  <a:cubicBezTo>
                    <a:pt x="463" y="314"/>
                    <a:pt x="463" y="314"/>
                    <a:pt x="463" y="314"/>
                  </a:cubicBezTo>
                  <a:cubicBezTo>
                    <a:pt x="461" y="316"/>
                    <a:pt x="459" y="318"/>
                    <a:pt x="457" y="320"/>
                  </a:cubicBezTo>
                  <a:cubicBezTo>
                    <a:pt x="457" y="320"/>
                    <a:pt x="457" y="320"/>
                    <a:pt x="456" y="320"/>
                  </a:cubicBezTo>
                  <a:cubicBezTo>
                    <a:pt x="456" y="320"/>
                    <a:pt x="456" y="320"/>
                    <a:pt x="456" y="320"/>
                  </a:cubicBezTo>
                  <a:cubicBezTo>
                    <a:pt x="431" y="298"/>
                    <a:pt x="431" y="298"/>
                    <a:pt x="431" y="298"/>
                  </a:cubicBezTo>
                  <a:cubicBezTo>
                    <a:pt x="410" y="281"/>
                    <a:pt x="410" y="281"/>
                    <a:pt x="410" y="281"/>
                  </a:cubicBezTo>
                  <a:cubicBezTo>
                    <a:pt x="391" y="264"/>
                    <a:pt x="391" y="264"/>
                    <a:pt x="391" y="264"/>
                  </a:cubicBezTo>
                  <a:cubicBezTo>
                    <a:pt x="382" y="257"/>
                    <a:pt x="382" y="257"/>
                    <a:pt x="382" y="257"/>
                  </a:cubicBezTo>
                  <a:cubicBezTo>
                    <a:pt x="380" y="254"/>
                    <a:pt x="378" y="252"/>
                    <a:pt x="376" y="249"/>
                  </a:cubicBezTo>
                  <a:cubicBezTo>
                    <a:pt x="374" y="245"/>
                    <a:pt x="372" y="241"/>
                    <a:pt x="372" y="235"/>
                  </a:cubicBezTo>
                  <a:cubicBezTo>
                    <a:pt x="371" y="229"/>
                    <a:pt x="373" y="221"/>
                    <a:pt x="378" y="215"/>
                  </a:cubicBezTo>
                  <a:cubicBezTo>
                    <a:pt x="378" y="214"/>
                    <a:pt x="378" y="214"/>
                    <a:pt x="378" y="214"/>
                  </a:cubicBezTo>
                  <a:cubicBezTo>
                    <a:pt x="382" y="209"/>
                    <a:pt x="388" y="206"/>
                    <a:pt x="393" y="203"/>
                  </a:cubicBezTo>
                  <a:cubicBezTo>
                    <a:pt x="394" y="203"/>
                    <a:pt x="395" y="203"/>
                    <a:pt x="396" y="203"/>
                  </a:cubicBezTo>
                  <a:cubicBezTo>
                    <a:pt x="397" y="203"/>
                    <a:pt x="398" y="203"/>
                    <a:pt x="398" y="202"/>
                  </a:cubicBezTo>
                  <a:cubicBezTo>
                    <a:pt x="406" y="201"/>
                    <a:pt x="415" y="203"/>
                    <a:pt x="422" y="209"/>
                  </a:cubicBezTo>
                  <a:cubicBezTo>
                    <a:pt x="491" y="262"/>
                    <a:pt x="491" y="262"/>
                    <a:pt x="491" y="262"/>
                  </a:cubicBezTo>
                  <a:cubicBezTo>
                    <a:pt x="496" y="265"/>
                    <a:pt x="501" y="268"/>
                    <a:pt x="506" y="269"/>
                  </a:cubicBezTo>
                  <a:cubicBezTo>
                    <a:pt x="510" y="270"/>
                    <a:pt x="513" y="270"/>
                    <a:pt x="516" y="270"/>
                  </a:cubicBezTo>
                  <a:cubicBezTo>
                    <a:pt x="516" y="270"/>
                    <a:pt x="517" y="270"/>
                    <a:pt x="518" y="269"/>
                  </a:cubicBezTo>
                  <a:cubicBezTo>
                    <a:pt x="526" y="269"/>
                    <a:pt x="532" y="266"/>
                    <a:pt x="538" y="261"/>
                  </a:cubicBezTo>
                  <a:cubicBezTo>
                    <a:pt x="488" y="210"/>
                    <a:pt x="488" y="210"/>
                    <a:pt x="488" y="210"/>
                  </a:cubicBezTo>
                  <a:cubicBezTo>
                    <a:pt x="485" y="207"/>
                    <a:pt x="485" y="207"/>
                    <a:pt x="485" y="207"/>
                  </a:cubicBezTo>
                  <a:cubicBezTo>
                    <a:pt x="470" y="191"/>
                    <a:pt x="470" y="191"/>
                    <a:pt x="470" y="191"/>
                  </a:cubicBezTo>
                  <a:cubicBezTo>
                    <a:pt x="386" y="107"/>
                    <a:pt x="386" y="107"/>
                    <a:pt x="386" y="107"/>
                  </a:cubicBezTo>
                  <a:cubicBezTo>
                    <a:pt x="270" y="98"/>
                    <a:pt x="270" y="98"/>
                    <a:pt x="270" y="98"/>
                  </a:cubicBezTo>
                  <a:cubicBezTo>
                    <a:pt x="274" y="91"/>
                    <a:pt x="275" y="84"/>
                    <a:pt x="274" y="76"/>
                  </a:cubicBezTo>
                  <a:cubicBezTo>
                    <a:pt x="274" y="75"/>
                    <a:pt x="274" y="74"/>
                    <a:pt x="274" y="73"/>
                  </a:cubicBezTo>
                  <a:cubicBezTo>
                    <a:pt x="274" y="73"/>
                    <a:pt x="333" y="77"/>
                    <a:pt x="390" y="81"/>
                  </a:cubicBezTo>
                  <a:cubicBezTo>
                    <a:pt x="394" y="82"/>
                    <a:pt x="397" y="83"/>
                    <a:pt x="400" y="85"/>
                  </a:cubicBezTo>
                  <a:cubicBezTo>
                    <a:pt x="490" y="175"/>
                    <a:pt x="490" y="175"/>
                    <a:pt x="490" y="175"/>
                  </a:cubicBezTo>
                  <a:cubicBezTo>
                    <a:pt x="490" y="175"/>
                    <a:pt x="490" y="175"/>
                    <a:pt x="490" y="175"/>
                  </a:cubicBezTo>
                  <a:cubicBezTo>
                    <a:pt x="508" y="194"/>
                    <a:pt x="508" y="194"/>
                    <a:pt x="508" y="194"/>
                  </a:cubicBezTo>
                  <a:cubicBezTo>
                    <a:pt x="508" y="194"/>
                    <a:pt x="508" y="194"/>
                    <a:pt x="508" y="194"/>
                  </a:cubicBezTo>
                  <a:cubicBezTo>
                    <a:pt x="558" y="245"/>
                    <a:pt x="558" y="245"/>
                    <a:pt x="558" y="245"/>
                  </a:cubicBezTo>
                  <a:cubicBezTo>
                    <a:pt x="558" y="245"/>
                    <a:pt x="558" y="245"/>
                    <a:pt x="558" y="245"/>
                  </a:cubicBezTo>
                  <a:close/>
                  <a:moveTo>
                    <a:pt x="531" y="180"/>
                  </a:moveTo>
                  <a:cubicBezTo>
                    <a:pt x="562" y="163"/>
                    <a:pt x="612" y="133"/>
                    <a:pt x="612" y="133"/>
                  </a:cubicBezTo>
                  <a:cubicBezTo>
                    <a:pt x="612" y="133"/>
                    <a:pt x="612" y="133"/>
                    <a:pt x="602" y="126"/>
                  </a:cubicBezTo>
                  <a:cubicBezTo>
                    <a:pt x="598" y="123"/>
                    <a:pt x="595" y="119"/>
                    <a:pt x="593" y="114"/>
                  </a:cubicBezTo>
                  <a:cubicBezTo>
                    <a:pt x="593" y="114"/>
                    <a:pt x="543" y="143"/>
                    <a:pt x="513" y="162"/>
                  </a:cubicBezTo>
                  <a:cubicBezTo>
                    <a:pt x="513" y="162"/>
                    <a:pt x="513" y="162"/>
                    <a:pt x="531" y="180"/>
                  </a:cubicBezTo>
                  <a:close/>
                  <a:moveTo>
                    <a:pt x="352" y="698"/>
                  </a:moveTo>
                  <a:cubicBezTo>
                    <a:pt x="321" y="717"/>
                    <a:pt x="270" y="748"/>
                    <a:pt x="270" y="748"/>
                  </a:cubicBezTo>
                  <a:cubicBezTo>
                    <a:pt x="270" y="748"/>
                    <a:pt x="270" y="748"/>
                    <a:pt x="279" y="755"/>
                  </a:cubicBezTo>
                  <a:cubicBezTo>
                    <a:pt x="283" y="758"/>
                    <a:pt x="286" y="762"/>
                    <a:pt x="289" y="767"/>
                  </a:cubicBezTo>
                  <a:cubicBezTo>
                    <a:pt x="289" y="767"/>
                    <a:pt x="340" y="737"/>
                    <a:pt x="371" y="718"/>
                  </a:cubicBezTo>
                  <a:cubicBezTo>
                    <a:pt x="371" y="718"/>
                    <a:pt x="371" y="718"/>
                    <a:pt x="352" y="698"/>
                  </a:cubicBezTo>
                  <a:close/>
                  <a:moveTo>
                    <a:pt x="160" y="368"/>
                  </a:moveTo>
                  <a:cubicBezTo>
                    <a:pt x="160" y="368"/>
                    <a:pt x="160" y="368"/>
                    <a:pt x="160" y="368"/>
                  </a:cubicBezTo>
                  <a:cubicBezTo>
                    <a:pt x="179" y="350"/>
                    <a:pt x="179" y="350"/>
                    <a:pt x="179" y="350"/>
                  </a:cubicBezTo>
                  <a:cubicBezTo>
                    <a:pt x="162" y="321"/>
                    <a:pt x="134" y="273"/>
                    <a:pt x="134" y="273"/>
                  </a:cubicBezTo>
                  <a:cubicBezTo>
                    <a:pt x="134" y="273"/>
                    <a:pt x="134" y="273"/>
                    <a:pt x="133" y="271"/>
                  </a:cubicBezTo>
                  <a:cubicBezTo>
                    <a:pt x="133" y="271"/>
                    <a:pt x="133" y="271"/>
                    <a:pt x="125" y="280"/>
                  </a:cubicBezTo>
                  <a:cubicBezTo>
                    <a:pt x="122" y="284"/>
                    <a:pt x="118" y="287"/>
                    <a:pt x="113" y="290"/>
                  </a:cubicBezTo>
                  <a:cubicBezTo>
                    <a:pt x="113" y="290"/>
                    <a:pt x="142" y="338"/>
                    <a:pt x="160" y="368"/>
                  </a:cubicBezTo>
                  <a:close/>
                  <a:moveTo>
                    <a:pt x="251" y="462"/>
                  </a:moveTo>
                  <a:cubicBezTo>
                    <a:pt x="251" y="462"/>
                    <a:pt x="251" y="462"/>
                    <a:pt x="251" y="462"/>
                  </a:cubicBezTo>
                  <a:cubicBezTo>
                    <a:pt x="237" y="479"/>
                    <a:pt x="237" y="479"/>
                    <a:pt x="237" y="479"/>
                  </a:cubicBezTo>
                  <a:cubicBezTo>
                    <a:pt x="237" y="480"/>
                    <a:pt x="236" y="480"/>
                    <a:pt x="236" y="480"/>
                  </a:cubicBezTo>
                  <a:cubicBezTo>
                    <a:pt x="236" y="480"/>
                    <a:pt x="236" y="480"/>
                    <a:pt x="236" y="480"/>
                  </a:cubicBezTo>
                  <a:cubicBezTo>
                    <a:pt x="234" y="481"/>
                    <a:pt x="232" y="481"/>
                    <a:pt x="230" y="480"/>
                  </a:cubicBezTo>
                  <a:cubicBezTo>
                    <a:pt x="230" y="480"/>
                    <a:pt x="230" y="480"/>
                    <a:pt x="230" y="480"/>
                  </a:cubicBezTo>
                  <a:cubicBezTo>
                    <a:pt x="230" y="480"/>
                    <a:pt x="230" y="480"/>
                    <a:pt x="229" y="480"/>
                  </a:cubicBezTo>
                  <a:cubicBezTo>
                    <a:pt x="228" y="479"/>
                    <a:pt x="227" y="478"/>
                    <a:pt x="227" y="477"/>
                  </a:cubicBezTo>
                  <a:cubicBezTo>
                    <a:pt x="227" y="477"/>
                    <a:pt x="227" y="477"/>
                    <a:pt x="227" y="476"/>
                  </a:cubicBezTo>
                  <a:cubicBezTo>
                    <a:pt x="227" y="476"/>
                    <a:pt x="227" y="474"/>
                    <a:pt x="229" y="473"/>
                  </a:cubicBezTo>
                  <a:cubicBezTo>
                    <a:pt x="229" y="473"/>
                    <a:pt x="229" y="473"/>
                    <a:pt x="248" y="447"/>
                  </a:cubicBezTo>
                  <a:cubicBezTo>
                    <a:pt x="248" y="447"/>
                    <a:pt x="248" y="447"/>
                    <a:pt x="248" y="447"/>
                  </a:cubicBezTo>
                  <a:cubicBezTo>
                    <a:pt x="248" y="447"/>
                    <a:pt x="248" y="447"/>
                    <a:pt x="282" y="403"/>
                  </a:cubicBezTo>
                  <a:cubicBezTo>
                    <a:pt x="288" y="395"/>
                    <a:pt x="292" y="385"/>
                    <a:pt x="294" y="375"/>
                  </a:cubicBezTo>
                  <a:cubicBezTo>
                    <a:pt x="294" y="374"/>
                    <a:pt x="294" y="374"/>
                    <a:pt x="294" y="373"/>
                  </a:cubicBezTo>
                  <a:cubicBezTo>
                    <a:pt x="296" y="355"/>
                    <a:pt x="291" y="335"/>
                    <a:pt x="277" y="321"/>
                  </a:cubicBezTo>
                  <a:cubicBezTo>
                    <a:pt x="273" y="316"/>
                    <a:pt x="267" y="314"/>
                    <a:pt x="261" y="314"/>
                  </a:cubicBezTo>
                  <a:cubicBezTo>
                    <a:pt x="261" y="314"/>
                    <a:pt x="261" y="314"/>
                    <a:pt x="260" y="314"/>
                  </a:cubicBezTo>
                  <a:cubicBezTo>
                    <a:pt x="260" y="314"/>
                    <a:pt x="259" y="314"/>
                    <a:pt x="258" y="314"/>
                  </a:cubicBezTo>
                  <a:cubicBezTo>
                    <a:pt x="258" y="314"/>
                    <a:pt x="258" y="314"/>
                    <a:pt x="258" y="314"/>
                  </a:cubicBezTo>
                  <a:cubicBezTo>
                    <a:pt x="253" y="315"/>
                    <a:pt x="249" y="316"/>
                    <a:pt x="245" y="320"/>
                  </a:cubicBezTo>
                  <a:cubicBezTo>
                    <a:pt x="245" y="320"/>
                    <a:pt x="245" y="320"/>
                    <a:pt x="163" y="401"/>
                  </a:cubicBezTo>
                  <a:cubicBezTo>
                    <a:pt x="163" y="401"/>
                    <a:pt x="163" y="401"/>
                    <a:pt x="85" y="479"/>
                  </a:cubicBezTo>
                  <a:cubicBezTo>
                    <a:pt x="84" y="480"/>
                    <a:pt x="83" y="483"/>
                    <a:pt x="83" y="484"/>
                  </a:cubicBezTo>
                  <a:cubicBezTo>
                    <a:pt x="83" y="485"/>
                    <a:pt x="83" y="485"/>
                    <a:pt x="83" y="485"/>
                  </a:cubicBezTo>
                  <a:cubicBezTo>
                    <a:pt x="82" y="486"/>
                    <a:pt x="82" y="487"/>
                    <a:pt x="82" y="488"/>
                  </a:cubicBezTo>
                  <a:cubicBezTo>
                    <a:pt x="81" y="499"/>
                    <a:pt x="80" y="510"/>
                    <a:pt x="79" y="520"/>
                  </a:cubicBezTo>
                  <a:cubicBezTo>
                    <a:pt x="79" y="520"/>
                    <a:pt x="79" y="520"/>
                    <a:pt x="79" y="523"/>
                  </a:cubicBezTo>
                  <a:cubicBezTo>
                    <a:pt x="76" y="567"/>
                    <a:pt x="73" y="605"/>
                    <a:pt x="73" y="605"/>
                  </a:cubicBezTo>
                  <a:cubicBezTo>
                    <a:pt x="74" y="605"/>
                    <a:pt x="75" y="605"/>
                    <a:pt x="76" y="605"/>
                  </a:cubicBezTo>
                  <a:cubicBezTo>
                    <a:pt x="84" y="604"/>
                    <a:pt x="91" y="606"/>
                    <a:pt x="97" y="609"/>
                  </a:cubicBezTo>
                  <a:cubicBezTo>
                    <a:pt x="98" y="609"/>
                    <a:pt x="98" y="609"/>
                    <a:pt x="98" y="609"/>
                  </a:cubicBezTo>
                  <a:cubicBezTo>
                    <a:pt x="98" y="609"/>
                    <a:pt x="98" y="609"/>
                    <a:pt x="105" y="524"/>
                  </a:cubicBezTo>
                  <a:cubicBezTo>
                    <a:pt x="105" y="524"/>
                    <a:pt x="105" y="524"/>
                    <a:pt x="107" y="492"/>
                  </a:cubicBezTo>
                  <a:cubicBezTo>
                    <a:pt x="107" y="492"/>
                    <a:pt x="107" y="492"/>
                    <a:pt x="108" y="492"/>
                  </a:cubicBezTo>
                  <a:cubicBezTo>
                    <a:pt x="108" y="492"/>
                    <a:pt x="108" y="492"/>
                    <a:pt x="173" y="427"/>
                  </a:cubicBezTo>
                  <a:cubicBezTo>
                    <a:pt x="173" y="427"/>
                    <a:pt x="173" y="427"/>
                    <a:pt x="260" y="340"/>
                  </a:cubicBezTo>
                  <a:cubicBezTo>
                    <a:pt x="260" y="341"/>
                    <a:pt x="260" y="341"/>
                    <a:pt x="261" y="341"/>
                  </a:cubicBezTo>
                  <a:cubicBezTo>
                    <a:pt x="265" y="347"/>
                    <a:pt x="268" y="354"/>
                    <a:pt x="268" y="361"/>
                  </a:cubicBezTo>
                  <a:cubicBezTo>
                    <a:pt x="269" y="362"/>
                    <a:pt x="269" y="362"/>
                    <a:pt x="269" y="363"/>
                  </a:cubicBezTo>
                  <a:cubicBezTo>
                    <a:pt x="269" y="366"/>
                    <a:pt x="269" y="369"/>
                    <a:pt x="268" y="373"/>
                  </a:cubicBezTo>
                  <a:cubicBezTo>
                    <a:pt x="267" y="378"/>
                    <a:pt x="264" y="383"/>
                    <a:pt x="261" y="388"/>
                  </a:cubicBezTo>
                  <a:cubicBezTo>
                    <a:pt x="261" y="388"/>
                    <a:pt x="261" y="388"/>
                    <a:pt x="208" y="457"/>
                  </a:cubicBezTo>
                  <a:cubicBezTo>
                    <a:pt x="203" y="464"/>
                    <a:pt x="201" y="472"/>
                    <a:pt x="202" y="480"/>
                  </a:cubicBezTo>
                  <a:cubicBezTo>
                    <a:pt x="202" y="481"/>
                    <a:pt x="202" y="482"/>
                    <a:pt x="202" y="483"/>
                  </a:cubicBezTo>
                  <a:cubicBezTo>
                    <a:pt x="203" y="484"/>
                    <a:pt x="203" y="485"/>
                    <a:pt x="203" y="486"/>
                  </a:cubicBezTo>
                  <a:cubicBezTo>
                    <a:pt x="205" y="492"/>
                    <a:pt x="209" y="497"/>
                    <a:pt x="214" y="500"/>
                  </a:cubicBezTo>
                  <a:cubicBezTo>
                    <a:pt x="214" y="500"/>
                    <a:pt x="214" y="500"/>
                    <a:pt x="215" y="501"/>
                  </a:cubicBezTo>
                  <a:cubicBezTo>
                    <a:pt x="221" y="505"/>
                    <a:pt x="228" y="508"/>
                    <a:pt x="235" y="507"/>
                  </a:cubicBezTo>
                  <a:cubicBezTo>
                    <a:pt x="240" y="507"/>
                    <a:pt x="245" y="505"/>
                    <a:pt x="248" y="503"/>
                  </a:cubicBezTo>
                  <a:cubicBezTo>
                    <a:pt x="248" y="503"/>
                    <a:pt x="248" y="503"/>
                    <a:pt x="249" y="503"/>
                  </a:cubicBezTo>
                  <a:cubicBezTo>
                    <a:pt x="249" y="503"/>
                    <a:pt x="249" y="503"/>
                    <a:pt x="249" y="503"/>
                  </a:cubicBezTo>
                  <a:cubicBezTo>
                    <a:pt x="251" y="500"/>
                    <a:pt x="258" y="493"/>
                    <a:pt x="264" y="486"/>
                  </a:cubicBezTo>
                  <a:cubicBezTo>
                    <a:pt x="258" y="479"/>
                    <a:pt x="254" y="471"/>
                    <a:pt x="251" y="462"/>
                  </a:cubicBezTo>
                  <a:close/>
                  <a:moveTo>
                    <a:pt x="768" y="589"/>
                  </a:moveTo>
                  <a:cubicBezTo>
                    <a:pt x="768" y="589"/>
                    <a:pt x="762" y="580"/>
                    <a:pt x="755" y="567"/>
                  </a:cubicBezTo>
                  <a:cubicBezTo>
                    <a:pt x="755" y="567"/>
                    <a:pt x="755" y="567"/>
                    <a:pt x="752" y="563"/>
                  </a:cubicBezTo>
                  <a:cubicBezTo>
                    <a:pt x="752" y="563"/>
                    <a:pt x="752" y="563"/>
                    <a:pt x="748" y="556"/>
                  </a:cubicBezTo>
                  <a:cubicBezTo>
                    <a:pt x="738" y="538"/>
                    <a:pt x="724" y="516"/>
                    <a:pt x="716" y="502"/>
                  </a:cubicBezTo>
                  <a:cubicBezTo>
                    <a:pt x="716" y="501"/>
                    <a:pt x="716" y="501"/>
                    <a:pt x="715" y="500"/>
                  </a:cubicBezTo>
                  <a:cubicBezTo>
                    <a:pt x="715" y="499"/>
                    <a:pt x="715" y="499"/>
                    <a:pt x="714" y="498"/>
                  </a:cubicBezTo>
                  <a:cubicBezTo>
                    <a:pt x="712" y="494"/>
                    <a:pt x="710" y="491"/>
                    <a:pt x="709" y="489"/>
                  </a:cubicBezTo>
                  <a:cubicBezTo>
                    <a:pt x="709" y="489"/>
                    <a:pt x="709" y="489"/>
                    <a:pt x="709" y="489"/>
                  </a:cubicBezTo>
                  <a:cubicBezTo>
                    <a:pt x="709" y="489"/>
                    <a:pt x="709" y="489"/>
                    <a:pt x="702" y="477"/>
                  </a:cubicBezTo>
                  <a:cubicBezTo>
                    <a:pt x="702" y="477"/>
                    <a:pt x="702" y="477"/>
                    <a:pt x="702" y="477"/>
                  </a:cubicBezTo>
                  <a:cubicBezTo>
                    <a:pt x="702" y="477"/>
                    <a:pt x="701" y="476"/>
                    <a:pt x="700" y="475"/>
                  </a:cubicBezTo>
                  <a:cubicBezTo>
                    <a:pt x="700" y="474"/>
                    <a:pt x="699" y="474"/>
                    <a:pt x="699" y="473"/>
                  </a:cubicBezTo>
                  <a:cubicBezTo>
                    <a:pt x="698" y="473"/>
                    <a:pt x="698" y="472"/>
                    <a:pt x="697" y="471"/>
                  </a:cubicBezTo>
                  <a:cubicBezTo>
                    <a:pt x="697" y="471"/>
                    <a:pt x="697" y="471"/>
                    <a:pt x="693" y="468"/>
                  </a:cubicBezTo>
                  <a:cubicBezTo>
                    <a:pt x="693" y="468"/>
                    <a:pt x="693" y="468"/>
                    <a:pt x="693" y="469"/>
                  </a:cubicBezTo>
                  <a:cubicBezTo>
                    <a:pt x="693" y="469"/>
                    <a:pt x="693" y="469"/>
                    <a:pt x="525" y="337"/>
                  </a:cubicBezTo>
                  <a:cubicBezTo>
                    <a:pt x="520" y="333"/>
                    <a:pt x="514" y="330"/>
                    <a:pt x="508" y="330"/>
                  </a:cubicBezTo>
                  <a:cubicBezTo>
                    <a:pt x="508" y="330"/>
                    <a:pt x="508" y="330"/>
                    <a:pt x="507" y="329"/>
                  </a:cubicBezTo>
                  <a:cubicBezTo>
                    <a:pt x="507" y="329"/>
                    <a:pt x="507" y="329"/>
                    <a:pt x="507" y="329"/>
                  </a:cubicBezTo>
                  <a:cubicBezTo>
                    <a:pt x="507" y="329"/>
                    <a:pt x="507" y="329"/>
                    <a:pt x="505" y="328"/>
                  </a:cubicBezTo>
                  <a:cubicBezTo>
                    <a:pt x="496" y="327"/>
                    <a:pt x="487" y="329"/>
                    <a:pt x="479" y="335"/>
                  </a:cubicBezTo>
                  <a:cubicBezTo>
                    <a:pt x="479" y="335"/>
                    <a:pt x="479" y="335"/>
                    <a:pt x="479" y="335"/>
                  </a:cubicBezTo>
                  <a:cubicBezTo>
                    <a:pt x="478" y="336"/>
                    <a:pt x="477" y="336"/>
                    <a:pt x="477" y="337"/>
                  </a:cubicBezTo>
                  <a:cubicBezTo>
                    <a:pt x="477" y="337"/>
                    <a:pt x="477" y="337"/>
                    <a:pt x="477" y="337"/>
                  </a:cubicBezTo>
                  <a:cubicBezTo>
                    <a:pt x="477" y="337"/>
                    <a:pt x="477" y="337"/>
                    <a:pt x="477" y="337"/>
                  </a:cubicBezTo>
                  <a:cubicBezTo>
                    <a:pt x="476" y="338"/>
                    <a:pt x="476" y="338"/>
                    <a:pt x="476" y="338"/>
                  </a:cubicBezTo>
                  <a:cubicBezTo>
                    <a:pt x="475" y="339"/>
                    <a:pt x="475" y="340"/>
                    <a:pt x="475" y="340"/>
                  </a:cubicBezTo>
                  <a:cubicBezTo>
                    <a:pt x="474" y="340"/>
                    <a:pt x="474" y="340"/>
                    <a:pt x="474" y="340"/>
                  </a:cubicBezTo>
                  <a:cubicBezTo>
                    <a:pt x="472" y="342"/>
                    <a:pt x="471" y="344"/>
                    <a:pt x="469" y="346"/>
                  </a:cubicBezTo>
                  <a:cubicBezTo>
                    <a:pt x="468" y="348"/>
                    <a:pt x="466" y="350"/>
                    <a:pt x="465" y="353"/>
                  </a:cubicBezTo>
                  <a:cubicBezTo>
                    <a:pt x="465" y="353"/>
                    <a:pt x="465" y="353"/>
                    <a:pt x="465" y="353"/>
                  </a:cubicBezTo>
                  <a:cubicBezTo>
                    <a:pt x="465" y="354"/>
                    <a:pt x="465" y="354"/>
                    <a:pt x="465" y="354"/>
                  </a:cubicBezTo>
                  <a:cubicBezTo>
                    <a:pt x="465" y="354"/>
                    <a:pt x="465" y="354"/>
                    <a:pt x="464" y="353"/>
                  </a:cubicBezTo>
                  <a:cubicBezTo>
                    <a:pt x="464" y="353"/>
                    <a:pt x="463" y="353"/>
                    <a:pt x="462" y="352"/>
                  </a:cubicBezTo>
                  <a:cubicBezTo>
                    <a:pt x="462" y="352"/>
                    <a:pt x="462" y="352"/>
                    <a:pt x="461" y="352"/>
                  </a:cubicBezTo>
                  <a:cubicBezTo>
                    <a:pt x="461" y="351"/>
                    <a:pt x="460" y="351"/>
                    <a:pt x="460" y="350"/>
                  </a:cubicBezTo>
                  <a:cubicBezTo>
                    <a:pt x="460" y="350"/>
                    <a:pt x="459" y="350"/>
                    <a:pt x="458" y="350"/>
                  </a:cubicBezTo>
                  <a:cubicBezTo>
                    <a:pt x="458" y="349"/>
                    <a:pt x="457" y="349"/>
                    <a:pt x="457" y="349"/>
                  </a:cubicBezTo>
                  <a:cubicBezTo>
                    <a:pt x="457" y="349"/>
                    <a:pt x="457" y="349"/>
                    <a:pt x="456" y="349"/>
                  </a:cubicBezTo>
                  <a:cubicBezTo>
                    <a:pt x="456" y="348"/>
                    <a:pt x="455" y="348"/>
                    <a:pt x="454" y="348"/>
                  </a:cubicBezTo>
                  <a:cubicBezTo>
                    <a:pt x="454" y="348"/>
                    <a:pt x="453" y="348"/>
                    <a:pt x="453" y="347"/>
                  </a:cubicBezTo>
                  <a:cubicBezTo>
                    <a:pt x="452" y="347"/>
                    <a:pt x="452" y="346"/>
                    <a:pt x="451" y="346"/>
                  </a:cubicBezTo>
                  <a:cubicBezTo>
                    <a:pt x="450" y="346"/>
                    <a:pt x="449" y="346"/>
                    <a:pt x="449" y="346"/>
                  </a:cubicBezTo>
                  <a:cubicBezTo>
                    <a:pt x="448" y="346"/>
                    <a:pt x="448" y="346"/>
                    <a:pt x="448" y="345"/>
                  </a:cubicBezTo>
                  <a:cubicBezTo>
                    <a:pt x="447" y="345"/>
                    <a:pt x="446" y="345"/>
                    <a:pt x="446" y="345"/>
                  </a:cubicBezTo>
                  <a:cubicBezTo>
                    <a:pt x="445" y="345"/>
                    <a:pt x="445" y="345"/>
                    <a:pt x="444" y="345"/>
                  </a:cubicBezTo>
                  <a:cubicBezTo>
                    <a:pt x="444" y="345"/>
                    <a:pt x="444" y="345"/>
                    <a:pt x="443" y="345"/>
                  </a:cubicBezTo>
                  <a:cubicBezTo>
                    <a:pt x="442" y="345"/>
                    <a:pt x="441" y="345"/>
                    <a:pt x="440" y="345"/>
                  </a:cubicBezTo>
                  <a:cubicBezTo>
                    <a:pt x="438" y="345"/>
                    <a:pt x="438" y="345"/>
                    <a:pt x="437" y="345"/>
                  </a:cubicBezTo>
                  <a:cubicBezTo>
                    <a:pt x="432" y="345"/>
                    <a:pt x="426" y="346"/>
                    <a:pt x="422" y="348"/>
                  </a:cubicBezTo>
                  <a:cubicBezTo>
                    <a:pt x="419" y="349"/>
                    <a:pt x="416" y="351"/>
                    <a:pt x="413" y="353"/>
                  </a:cubicBezTo>
                  <a:cubicBezTo>
                    <a:pt x="412" y="354"/>
                    <a:pt x="410" y="356"/>
                    <a:pt x="409" y="357"/>
                  </a:cubicBezTo>
                  <a:cubicBezTo>
                    <a:pt x="409" y="357"/>
                    <a:pt x="409" y="357"/>
                    <a:pt x="409" y="357"/>
                  </a:cubicBezTo>
                  <a:cubicBezTo>
                    <a:pt x="408" y="358"/>
                    <a:pt x="408" y="358"/>
                    <a:pt x="408" y="358"/>
                  </a:cubicBezTo>
                  <a:cubicBezTo>
                    <a:pt x="406" y="360"/>
                    <a:pt x="404" y="363"/>
                    <a:pt x="402" y="366"/>
                  </a:cubicBezTo>
                  <a:cubicBezTo>
                    <a:pt x="402" y="366"/>
                    <a:pt x="402" y="366"/>
                    <a:pt x="402" y="366"/>
                  </a:cubicBezTo>
                  <a:cubicBezTo>
                    <a:pt x="401" y="368"/>
                    <a:pt x="400" y="370"/>
                    <a:pt x="400" y="373"/>
                  </a:cubicBezTo>
                  <a:cubicBezTo>
                    <a:pt x="399" y="373"/>
                    <a:pt x="399" y="374"/>
                    <a:pt x="399" y="374"/>
                  </a:cubicBezTo>
                  <a:cubicBezTo>
                    <a:pt x="399" y="374"/>
                    <a:pt x="399" y="374"/>
                    <a:pt x="399" y="375"/>
                  </a:cubicBezTo>
                  <a:cubicBezTo>
                    <a:pt x="397" y="374"/>
                    <a:pt x="395" y="374"/>
                    <a:pt x="393" y="373"/>
                  </a:cubicBezTo>
                  <a:cubicBezTo>
                    <a:pt x="383" y="371"/>
                    <a:pt x="372" y="373"/>
                    <a:pt x="363" y="377"/>
                  </a:cubicBezTo>
                  <a:cubicBezTo>
                    <a:pt x="361" y="378"/>
                    <a:pt x="360" y="379"/>
                    <a:pt x="358" y="380"/>
                  </a:cubicBezTo>
                  <a:cubicBezTo>
                    <a:pt x="358" y="381"/>
                    <a:pt x="358" y="381"/>
                    <a:pt x="357" y="381"/>
                  </a:cubicBezTo>
                  <a:cubicBezTo>
                    <a:pt x="357" y="381"/>
                    <a:pt x="357" y="381"/>
                    <a:pt x="357" y="381"/>
                  </a:cubicBezTo>
                  <a:cubicBezTo>
                    <a:pt x="356" y="382"/>
                    <a:pt x="355" y="383"/>
                    <a:pt x="354" y="384"/>
                  </a:cubicBezTo>
                  <a:cubicBezTo>
                    <a:pt x="353" y="385"/>
                    <a:pt x="353" y="385"/>
                    <a:pt x="352" y="386"/>
                  </a:cubicBezTo>
                  <a:cubicBezTo>
                    <a:pt x="351" y="387"/>
                    <a:pt x="350" y="388"/>
                    <a:pt x="350" y="388"/>
                  </a:cubicBezTo>
                  <a:cubicBezTo>
                    <a:pt x="349" y="390"/>
                    <a:pt x="347" y="392"/>
                    <a:pt x="346" y="394"/>
                  </a:cubicBezTo>
                  <a:cubicBezTo>
                    <a:pt x="345" y="395"/>
                    <a:pt x="345" y="397"/>
                    <a:pt x="344" y="398"/>
                  </a:cubicBezTo>
                  <a:cubicBezTo>
                    <a:pt x="344" y="399"/>
                    <a:pt x="343" y="401"/>
                    <a:pt x="342" y="402"/>
                  </a:cubicBezTo>
                  <a:cubicBezTo>
                    <a:pt x="342" y="402"/>
                    <a:pt x="342" y="403"/>
                    <a:pt x="342" y="403"/>
                  </a:cubicBezTo>
                  <a:cubicBezTo>
                    <a:pt x="342" y="404"/>
                    <a:pt x="342" y="404"/>
                    <a:pt x="342" y="404"/>
                  </a:cubicBezTo>
                  <a:cubicBezTo>
                    <a:pt x="341" y="404"/>
                    <a:pt x="340" y="403"/>
                    <a:pt x="339" y="402"/>
                  </a:cubicBezTo>
                  <a:cubicBezTo>
                    <a:pt x="339" y="402"/>
                    <a:pt x="339" y="402"/>
                    <a:pt x="339" y="402"/>
                  </a:cubicBezTo>
                  <a:cubicBezTo>
                    <a:pt x="338" y="402"/>
                    <a:pt x="338" y="402"/>
                    <a:pt x="338" y="402"/>
                  </a:cubicBezTo>
                  <a:cubicBezTo>
                    <a:pt x="337" y="401"/>
                    <a:pt x="335" y="401"/>
                    <a:pt x="333" y="400"/>
                  </a:cubicBezTo>
                  <a:cubicBezTo>
                    <a:pt x="325" y="397"/>
                    <a:pt x="317" y="397"/>
                    <a:pt x="308" y="398"/>
                  </a:cubicBezTo>
                  <a:cubicBezTo>
                    <a:pt x="308" y="398"/>
                    <a:pt x="308" y="398"/>
                    <a:pt x="307" y="398"/>
                  </a:cubicBezTo>
                  <a:cubicBezTo>
                    <a:pt x="307" y="398"/>
                    <a:pt x="307" y="398"/>
                    <a:pt x="307" y="398"/>
                  </a:cubicBezTo>
                  <a:cubicBezTo>
                    <a:pt x="301" y="400"/>
                    <a:pt x="295" y="403"/>
                    <a:pt x="290" y="407"/>
                  </a:cubicBezTo>
                  <a:cubicBezTo>
                    <a:pt x="287" y="409"/>
                    <a:pt x="286" y="410"/>
                    <a:pt x="284" y="413"/>
                  </a:cubicBezTo>
                  <a:cubicBezTo>
                    <a:pt x="283" y="413"/>
                    <a:pt x="283" y="413"/>
                    <a:pt x="283" y="413"/>
                  </a:cubicBezTo>
                  <a:cubicBezTo>
                    <a:pt x="277" y="421"/>
                    <a:pt x="274" y="430"/>
                    <a:pt x="273" y="440"/>
                  </a:cubicBezTo>
                  <a:cubicBezTo>
                    <a:pt x="273" y="454"/>
                    <a:pt x="279" y="467"/>
                    <a:pt x="289" y="475"/>
                  </a:cubicBezTo>
                  <a:cubicBezTo>
                    <a:pt x="289" y="475"/>
                    <a:pt x="289" y="475"/>
                    <a:pt x="318" y="499"/>
                  </a:cubicBezTo>
                  <a:cubicBezTo>
                    <a:pt x="318" y="499"/>
                    <a:pt x="318" y="499"/>
                    <a:pt x="317" y="500"/>
                  </a:cubicBezTo>
                  <a:cubicBezTo>
                    <a:pt x="317" y="500"/>
                    <a:pt x="317" y="500"/>
                    <a:pt x="334" y="514"/>
                  </a:cubicBezTo>
                  <a:cubicBezTo>
                    <a:pt x="334" y="514"/>
                    <a:pt x="334" y="514"/>
                    <a:pt x="448" y="611"/>
                  </a:cubicBezTo>
                  <a:cubicBezTo>
                    <a:pt x="448" y="611"/>
                    <a:pt x="448" y="611"/>
                    <a:pt x="481" y="641"/>
                  </a:cubicBezTo>
                  <a:cubicBezTo>
                    <a:pt x="484" y="642"/>
                    <a:pt x="484" y="645"/>
                    <a:pt x="483" y="647"/>
                  </a:cubicBezTo>
                  <a:cubicBezTo>
                    <a:pt x="483" y="647"/>
                    <a:pt x="483" y="647"/>
                    <a:pt x="482" y="648"/>
                  </a:cubicBezTo>
                  <a:cubicBezTo>
                    <a:pt x="482" y="648"/>
                    <a:pt x="482" y="648"/>
                    <a:pt x="482" y="649"/>
                  </a:cubicBezTo>
                  <a:cubicBezTo>
                    <a:pt x="482" y="649"/>
                    <a:pt x="482" y="649"/>
                    <a:pt x="481" y="649"/>
                  </a:cubicBezTo>
                  <a:cubicBezTo>
                    <a:pt x="481" y="649"/>
                    <a:pt x="481" y="649"/>
                    <a:pt x="481" y="649"/>
                  </a:cubicBezTo>
                  <a:cubicBezTo>
                    <a:pt x="481" y="649"/>
                    <a:pt x="481" y="649"/>
                    <a:pt x="480" y="649"/>
                  </a:cubicBezTo>
                  <a:cubicBezTo>
                    <a:pt x="480" y="650"/>
                    <a:pt x="479" y="650"/>
                    <a:pt x="479" y="650"/>
                  </a:cubicBezTo>
                  <a:cubicBezTo>
                    <a:pt x="479" y="650"/>
                    <a:pt x="479" y="650"/>
                    <a:pt x="479" y="650"/>
                  </a:cubicBezTo>
                  <a:cubicBezTo>
                    <a:pt x="477" y="650"/>
                    <a:pt x="477" y="650"/>
                    <a:pt x="475" y="649"/>
                  </a:cubicBezTo>
                  <a:cubicBezTo>
                    <a:pt x="475" y="649"/>
                    <a:pt x="475" y="649"/>
                    <a:pt x="475" y="649"/>
                  </a:cubicBezTo>
                  <a:cubicBezTo>
                    <a:pt x="475" y="649"/>
                    <a:pt x="475" y="649"/>
                    <a:pt x="455" y="634"/>
                  </a:cubicBezTo>
                  <a:cubicBezTo>
                    <a:pt x="455" y="634"/>
                    <a:pt x="455" y="634"/>
                    <a:pt x="434" y="618"/>
                  </a:cubicBezTo>
                  <a:cubicBezTo>
                    <a:pt x="434" y="618"/>
                    <a:pt x="434" y="618"/>
                    <a:pt x="405" y="595"/>
                  </a:cubicBezTo>
                  <a:cubicBezTo>
                    <a:pt x="400" y="591"/>
                    <a:pt x="393" y="587"/>
                    <a:pt x="386" y="585"/>
                  </a:cubicBezTo>
                  <a:cubicBezTo>
                    <a:pt x="365" y="579"/>
                    <a:pt x="340" y="584"/>
                    <a:pt x="324" y="600"/>
                  </a:cubicBezTo>
                  <a:cubicBezTo>
                    <a:pt x="323" y="601"/>
                    <a:pt x="322" y="601"/>
                    <a:pt x="322" y="602"/>
                  </a:cubicBezTo>
                  <a:cubicBezTo>
                    <a:pt x="321" y="602"/>
                    <a:pt x="321" y="602"/>
                    <a:pt x="321" y="603"/>
                  </a:cubicBezTo>
                  <a:cubicBezTo>
                    <a:pt x="318" y="607"/>
                    <a:pt x="316" y="611"/>
                    <a:pt x="316" y="617"/>
                  </a:cubicBezTo>
                  <a:cubicBezTo>
                    <a:pt x="316" y="617"/>
                    <a:pt x="316" y="617"/>
                    <a:pt x="316" y="617"/>
                  </a:cubicBezTo>
                  <a:cubicBezTo>
                    <a:pt x="316" y="618"/>
                    <a:pt x="316" y="619"/>
                    <a:pt x="316" y="619"/>
                  </a:cubicBezTo>
                  <a:cubicBezTo>
                    <a:pt x="316" y="619"/>
                    <a:pt x="316" y="619"/>
                    <a:pt x="316" y="619"/>
                  </a:cubicBezTo>
                  <a:cubicBezTo>
                    <a:pt x="317" y="622"/>
                    <a:pt x="317" y="623"/>
                    <a:pt x="318" y="625"/>
                  </a:cubicBezTo>
                  <a:cubicBezTo>
                    <a:pt x="319" y="627"/>
                    <a:pt x="321" y="630"/>
                    <a:pt x="322" y="631"/>
                  </a:cubicBezTo>
                  <a:cubicBezTo>
                    <a:pt x="322" y="631"/>
                    <a:pt x="322" y="631"/>
                    <a:pt x="357" y="667"/>
                  </a:cubicBezTo>
                  <a:cubicBezTo>
                    <a:pt x="357" y="667"/>
                    <a:pt x="357" y="667"/>
                    <a:pt x="375" y="685"/>
                  </a:cubicBezTo>
                  <a:cubicBezTo>
                    <a:pt x="375" y="685"/>
                    <a:pt x="375" y="685"/>
                    <a:pt x="393" y="705"/>
                  </a:cubicBezTo>
                  <a:cubicBezTo>
                    <a:pt x="393" y="705"/>
                    <a:pt x="393" y="705"/>
                    <a:pt x="412" y="723"/>
                  </a:cubicBezTo>
                  <a:cubicBezTo>
                    <a:pt x="412" y="723"/>
                    <a:pt x="412" y="723"/>
                    <a:pt x="412" y="723"/>
                  </a:cubicBezTo>
                  <a:cubicBezTo>
                    <a:pt x="412" y="723"/>
                    <a:pt x="412" y="723"/>
                    <a:pt x="481" y="792"/>
                  </a:cubicBezTo>
                  <a:cubicBezTo>
                    <a:pt x="481" y="793"/>
                    <a:pt x="482" y="793"/>
                    <a:pt x="483" y="794"/>
                  </a:cubicBezTo>
                  <a:cubicBezTo>
                    <a:pt x="483" y="794"/>
                    <a:pt x="483" y="794"/>
                    <a:pt x="483" y="794"/>
                  </a:cubicBezTo>
                  <a:cubicBezTo>
                    <a:pt x="485" y="795"/>
                    <a:pt x="488" y="796"/>
                    <a:pt x="491" y="796"/>
                  </a:cubicBezTo>
                  <a:cubicBezTo>
                    <a:pt x="520" y="798"/>
                    <a:pt x="550" y="801"/>
                    <a:pt x="572" y="802"/>
                  </a:cubicBezTo>
                  <a:cubicBezTo>
                    <a:pt x="573" y="802"/>
                    <a:pt x="574" y="802"/>
                    <a:pt x="575" y="802"/>
                  </a:cubicBezTo>
                  <a:cubicBezTo>
                    <a:pt x="595" y="804"/>
                    <a:pt x="607" y="805"/>
                    <a:pt x="607" y="805"/>
                  </a:cubicBezTo>
                  <a:cubicBezTo>
                    <a:pt x="607" y="804"/>
                    <a:pt x="607" y="803"/>
                    <a:pt x="607" y="802"/>
                  </a:cubicBezTo>
                  <a:cubicBezTo>
                    <a:pt x="606" y="794"/>
                    <a:pt x="607" y="787"/>
                    <a:pt x="611" y="780"/>
                  </a:cubicBezTo>
                  <a:cubicBezTo>
                    <a:pt x="611" y="780"/>
                    <a:pt x="611" y="780"/>
                    <a:pt x="611" y="779"/>
                  </a:cubicBezTo>
                  <a:cubicBezTo>
                    <a:pt x="611" y="779"/>
                    <a:pt x="611" y="779"/>
                    <a:pt x="611" y="779"/>
                  </a:cubicBezTo>
                  <a:cubicBezTo>
                    <a:pt x="611" y="779"/>
                    <a:pt x="611" y="779"/>
                    <a:pt x="575" y="777"/>
                  </a:cubicBezTo>
                  <a:cubicBezTo>
                    <a:pt x="575" y="777"/>
                    <a:pt x="575" y="777"/>
                    <a:pt x="495" y="770"/>
                  </a:cubicBezTo>
                  <a:cubicBezTo>
                    <a:pt x="495" y="770"/>
                    <a:pt x="495" y="770"/>
                    <a:pt x="494" y="770"/>
                  </a:cubicBezTo>
                  <a:cubicBezTo>
                    <a:pt x="494" y="770"/>
                    <a:pt x="494" y="770"/>
                    <a:pt x="444" y="719"/>
                  </a:cubicBezTo>
                  <a:cubicBezTo>
                    <a:pt x="444" y="719"/>
                    <a:pt x="444" y="719"/>
                    <a:pt x="442" y="717"/>
                  </a:cubicBezTo>
                  <a:cubicBezTo>
                    <a:pt x="442" y="717"/>
                    <a:pt x="442" y="717"/>
                    <a:pt x="430" y="705"/>
                  </a:cubicBezTo>
                  <a:cubicBezTo>
                    <a:pt x="430" y="705"/>
                    <a:pt x="430" y="705"/>
                    <a:pt x="413" y="687"/>
                  </a:cubicBezTo>
                  <a:cubicBezTo>
                    <a:pt x="413" y="687"/>
                    <a:pt x="413" y="687"/>
                    <a:pt x="394" y="669"/>
                  </a:cubicBezTo>
                  <a:cubicBezTo>
                    <a:pt x="394" y="669"/>
                    <a:pt x="394" y="669"/>
                    <a:pt x="376" y="651"/>
                  </a:cubicBezTo>
                  <a:cubicBezTo>
                    <a:pt x="376" y="651"/>
                    <a:pt x="376" y="651"/>
                    <a:pt x="343" y="617"/>
                  </a:cubicBezTo>
                  <a:cubicBezTo>
                    <a:pt x="343" y="617"/>
                    <a:pt x="343" y="617"/>
                    <a:pt x="343" y="617"/>
                  </a:cubicBezTo>
                  <a:cubicBezTo>
                    <a:pt x="344" y="617"/>
                    <a:pt x="344" y="617"/>
                    <a:pt x="344" y="617"/>
                  </a:cubicBezTo>
                  <a:cubicBezTo>
                    <a:pt x="349" y="612"/>
                    <a:pt x="356" y="609"/>
                    <a:pt x="364" y="609"/>
                  </a:cubicBezTo>
                  <a:cubicBezTo>
                    <a:pt x="364" y="609"/>
                    <a:pt x="365" y="609"/>
                    <a:pt x="365" y="609"/>
                  </a:cubicBezTo>
                  <a:cubicBezTo>
                    <a:pt x="368" y="608"/>
                    <a:pt x="372" y="609"/>
                    <a:pt x="375" y="609"/>
                  </a:cubicBezTo>
                  <a:cubicBezTo>
                    <a:pt x="380" y="610"/>
                    <a:pt x="385" y="613"/>
                    <a:pt x="390" y="616"/>
                  </a:cubicBezTo>
                  <a:cubicBezTo>
                    <a:pt x="390" y="616"/>
                    <a:pt x="390" y="616"/>
                    <a:pt x="399" y="623"/>
                  </a:cubicBezTo>
                  <a:cubicBezTo>
                    <a:pt x="399" y="623"/>
                    <a:pt x="399" y="623"/>
                    <a:pt x="418" y="638"/>
                  </a:cubicBezTo>
                  <a:cubicBezTo>
                    <a:pt x="418" y="638"/>
                    <a:pt x="418" y="638"/>
                    <a:pt x="439" y="654"/>
                  </a:cubicBezTo>
                  <a:cubicBezTo>
                    <a:pt x="439" y="654"/>
                    <a:pt x="439" y="654"/>
                    <a:pt x="459" y="669"/>
                  </a:cubicBezTo>
                  <a:cubicBezTo>
                    <a:pt x="459" y="669"/>
                    <a:pt x="459" y="669"/>
                    <a:pt x="459" y="669"/>
                  </a:cubicBezTo>
                  <a:cubicBezTo>
                    <a:pt x="461" y="671"/>
                    <a:pt x="462" y="672"/>
                    <a:pt x="464" y="673"/>
                  </a:cubicBezTo>
                  <a:cubicBezTo>
                    <a:pt x="465" y="673"/>
                    <a:pt x="466" y="673"/>
                    <a:pt x="467" y="674"/>
                  </a:cubicBezTo>
                  <a:cubicBezTo>
                    <a:pt x="468" y="674"/>
                    <a:pt x="468" y="674"/>
                    <a:pt x="469" y="674"/>
                  </a:cubicBezTo>
                  <a:cubicBezTo>
                    <a:pt x="473" y="676"/>
                    <a:pt x="478" y="676"/>
                    <a:pt x="483" y="675"/>
                  </a:cubicBezTo>
                  <a:cubicBezTo>
                    <a:pt x="483" y="675"/>
                    <a:pt x="483" y="675"/>
                    <a:pt x="484" y="675"/>
                  </a:cubicBezTo>
                  <a:cubicBezTo>
                    <a:pt x="484" y="675"/>
                    <a:pt x="485" y="675"/>
                    <a:pt x="485" y="675"/>
                  </a:cubicBezTo>
                  <a:cubicBezTo>
                    <a:pt x="485" y="675"/>
                    <a:pt x="485" y="675"/>
                    <a:pt x="485" y="675"/>
                  </a:cubicBezTo>
                  <a:cubicBezTo>
                    <a:pt x="486" y="675"/>
                    <a:pt x="487" y="674"/>
                    <a:pt x="487" y="674"/>
                  </a:cubicBezTo>
                  <a:cubicBezTo>
                    <a:pt x="487" y="674"/>
                    <a:pt x="488" y="674"/>
                    <a:pt x="488" y="674"/>
                  </a:cubicBezTo>
                  <a:cubicBezTo>
                    <a:pt x="488" y="674"/>
                    <a:pt x="488" y="674"/>
                    <a:pt x="488" y="674"/>
                  </a:cubicBezTo>
                  <a:cubicBezTo>
                    <a:pt x="489" y="674"/>
                    <a:pt x="489" y="674"/>
                    <a:pt x="489" y="674"/>
                  </a:cubicBezTo>
                  <a:cubicBezTo>
                    <a:pt x="490" y="673"/>
                    <a:pt x="490" y="673"/>
                    <a:pt x="491" y="673"/>
                  </a:cubicBezTo>
                  <a:cubicBezTo>
                    <a:pt x="491" y="673"/>
                    <a:pt x="492" y="673"/>
                    <a:pt x="492" y="673"/>
                  </a:cubicBezTo>
                  <a:cubicBezTo>
                    <a:pt x="493" y="672"/>
                    <a:pt x="493" y="671"/>
                    <a:pt x="494" y="671"/>
                  </a:cubicBezTo>
                  <a:cubicBezTo>
                    <a:pt x="494" y="671"/>
                    <a:pt x="494" y="671"/>
                    <a:pt x="494" y="671"/>
                  </a:cubicBezTo>
                  <a:cubicBezTo>
                    <a:pt x="495" y="671"/>
                    <a:pt x="495" y="670"/>
                    <a:pt x="496" y="670"/>
                  </a:cubicBezTo>
                  <a:cubicBezTo>
                    <a:pt x="496" y="670"/>
                    <a:pt x="496" y="670"/>
                    <a:pt x="496" y="670"/>
                  </a:cubicBezTo>
                  <a:cubicBezTo>
                    <a:pt x="497" y="669"/>
                    <a:pt x="497" y="669"/>
                    <a:pt x="498" y="669"/>
                  </a:cubicBezTo>
                  <a:cubicBezTo>
                    <a:pt x="499" y="668"/>
                    <a:pt x="499" y="667"/>
                    <a:pt x="500" y="667"/>
                  </a:cubicBezTo>
                  <a:cubicBezTo>
                    <a:pt x="500" y="666"/>
                    <a:pt x="501" y="666"/>
                    <a:pt x="501" y="665"/>
                  </a:cubicBezTo>
                  <a:cubicBezTo>
                    <a:pt x="501" y="665"/>
                    <a:pt x="502" y="664"/>
                    <a:pt x="503" y="663"/>
                  </a:cubicBezTo>
                  <a:cubicBezTo>
                    <a:pt x="503" y="663"/>
                    <a:pt x="503" y="663"/>
                    <a:pt x="503" y="662"/>
                  </a:cubicBezTo>
                  <a:cubicBezTo>
                    <a:pt x="508" y="657"/>
                    <a:pt x="509" y="649"/>
                    <a:pt x="509" y="642"/>
                  </a:cubicBezTo>
                  <a:cubicBezTo>
                    <a:pt x="509" y="637"/>
                    <a:pt x="507" y="633"/>
                    <a:pt x="505" y="629"/>
                  </a:cubicBezTo>
                  <a:cubicBezTo>
                    <a:pt x="505" y="628"/>
                    <a:pt x="504" y="627"/>
                    <a:pt x="504" y="627"/>
                  </a:cubicBezTo>
                  <a:cubicBezTo>
                    <a:pt x="503" y="625"/>
                    <a:pt x="500" y="623"/>
                    <a:pt x="499" y="621"/>
                  </a:cubicBezTo>
                  <a:cubicBezTo>
                    <a:pt x="499" y="621"/>
                    <a:pt x="499" y="621"/>
                    <a:pt x="497" y="621"/>
                  </a:cubicBezTo>
                  <a:cubicBezTo>
                    <a:pt x="497" y="621"/>
                    <a:pt x="497" y="621"/>
                    <a:pt x="479" y="604"/>
                  </a:cubicBezTo>
                  <a:cubicBezTo>
                    <a:pt x="479" y="604"/>
                    <a:pt x="479" y="604"/>
                    <a:pt x="459" y="587"/>
                  </a:cubicBezTo>
                  <a:cubicBezTo>
                    <a:pt x="459" y="587"/>
                    <a:pt x="459" y="587"/>
                    <a:pt x="438" y="570"/>
                  </a:cubicBezTo>
                  <a:cubicBezTo>
                    <a:pt x="438" y="570"/>
                    <a:pt x="438" y="570"/>
                    <a:pt x="419" y="553"/>
                  </a:cubicBezTo>
                  <a:cubicBezTo>
                    <a:pt x="419" y="553"/>
                    <a:pt x="419" y="553"/>
                    <a:pt x="393" y="531"/>
                  </a:cubicBezTo>
                  <a:cubicBezTo>
                    <a:pt x="393" y="531"/>
                    <a:pt x="393" y="531"/>
                    <a:pt x="384" y="523"/>
                  </a:cubicBezTo>
                  <a:cubicBezTo>
                    <a:pt x="384" y="523"/>
                    <a:pt x="384" y="523"/>
                    <a:pt x="384" y="523"/>
                  </a:cubicBezTo>
                  <a:cubicBezTo>
                    <a:pt x="384" y="523"/>
                    <a:pt x="384" y="523"/>
                    <a:pt x="384" y="523"/>
                  </a:cubicBezTo>
                  <a:cubicBezTo>
                    <a:pt x="384" y="523"/>
                    <a:pt x="384" y="523"/>
                    <a:pt x="384" y="523"/>
                  </a:cubicBezTo>
                  <a:cubicBezTo>
                    <a:pt x="384" y="523"/>
                    <a:pt x="384" y="523"/>
                    <a:pt x="374" y="515"/>
                  </a:cubicBezTo>
                  <a:cubicBezTo>
                    <a:pt x="374" y="515"/>
                    <a:pt x="374" y="515"/>
                    <a:pt x="347" y="492"/>
                  </a:cubicBezTo>
                  <a:cubicBezTo>
                    <a:pt x="347" y="492"/>
                    <a:pt x="347" y="492"/>
                    <a:pt x="328" y="475"/>
                  </a:cubicBezTo>
                  <a:cubicBezTo>
                    <a:pt x="328" y="475"/>
                    <a:pt x="328" y="475"/>
                    <a:pt x="305" y="457"/>
                  </a:cubicBezTo>
                  <a:cubicBezTo>
                    <a:pt x="302" y="454"/>
                    <a:pt x="301" y="451"/>
                    <a:pt x="299" y="448"/>
                  </a:cubicBezTo>
                  <a:cubicBezTo>
                    <a:pt x="299" y="448"/>
                    <a:pt x="299" y="448"/>
                    <a:pt x="299" y="447"/>
                  </a:cubicBezTo>
                  <a:cubicBezTo>
                    <a:pt x="299" y="445"/>
                    <a:pt x="298" y="444"/>
                    <a:pt x="298" y="442"/>
                  </a:cubicBezTo>
                  <a:cubicBezTo>
                    <a:pt x="298" y="441"/>
                    <a:pt x="298" y="441"/>
                    <a:pt x="298" y="441"/>
                  </a:cubicBezTo>
                  <a:cubicBezTo>
                    <a:pt x="299" y="439"/>
                    <a:pt x="299" y="437"/>
                    <a:pt x="299" y="436"/>
                  </a:cubicBezTo>
                  <a:cubicBezTo>
                    <a:pt x="300" y="434"/>
                    <a:pt x="301" y="433"/>
                    <a:pt x="302" y="432"/>
                  </a:cubicBezTo>
                  <a:cubicBezTo>
                    <a:pt x="302" y="431"/>
                    <a:pt x="302" y="431"/>
                    <a:pt x="302" y="430"/>
                  </a:cubicBezTo>
                  <a:cubicBezTo>
                    <a:pt x="302" y="430"/>
                    <a:pt x="302" y="430"/>
                    <a:pt x="303" y="430"/>
                  </a:cubicBezTo>
                  <a:cubicBezTo>
                    <a:pt x="303" y="430"/>
                    <a:pt x="303" y="430"/>
                    <a:pt x="303" y="430"/>
                  </a:cubicBezTo>
                  <a:cubicBezTo>
                    <a:pt x="303" y="430"/>
                    <a:pt x="303" y="430"/>
                    <a:pt x="303" y="430"/>
                  </a:cubicBezTo>
                  <a:cubicBezTo>
                    <a:pt x="304" y="429"/>
                    <a:pt x="304" y="429"/>
                    <a:pt x="304" y="429"/>
                  </a:cubicBezTo>
                  <a:cubicBezTo>
                    <a:pt x="305" y="428"/>
                    <a:pt x="305" y="428"/>
                    <a:pt x="305" y="428"/>
                  </a:cubicBezTo>
                  <a:cubicBezTo>
                    <a:pt x="305" y="428"/>
                    <a:pt x="305" y="428"/>
                    <a:pt x="306" y="427"/>
                  </a:cubicBezTo>
                  <a:cubicBezTo>
                    <a:pt x="306" y="427"/>
                    <a:pt x="307" y="426"/>
                    <a:pt x="307" y="426"/>
                  </a:cubicBezTo>
                  <a:cubicBezTo>
                    <a:pt x="308" y="426"/>
                    <a:pt x="309" y="425"/>
                    <a:pt x="310" y="425"/>
                  </a:cubicBezTo>
                  <a:cubicBezTo>
                    <a:pt x="310" y="425"/>
                    <a:pt x="310" y="425"/>
                    <a:pt x="310" y="425"/>
                  </a:cubicBezTo>
                  <a:cubicBezTo>
                    <a:pt x="312" y="424"/>
                    <a:pt x="312" y="424"/>
                    <a:pt x="313" y="424"/>
                  </a:cubicBezTo>
                  <a:cubicBezTo>
                    <a:pt x="313" y="424"/>
                    <a:pt x="313" y="424"/>
                    <a:pt x="313" y="424"/>
                  </a:cubicBezTo>
                  <a:cubicBezTo>
                    <a:pt x="314" y="424"/>
                    <a:pt x="315" y="423"/>
                    <a:pt x="316" y="423"/>
                  </a:cubicBezTo>
                  <a:cubicBezTo>
                    <a:pt x="317" y="423"/>
                    <a:pt x="318" y="423"/>
                    <a:pt x="319" y="423"/>
                  </a:cubicBezTo>
                  <a:cubicBezTo>
                    <a:pt x="320" y="423"/>
                    <a:pt x="320" y="423"/>
                    <a:pt x="320" y="423"/>
                  </a:cubicBezTo>
                  <a:cubicBezTo>
                    <a:pt x="320" y="423"/>
                    <a:pt x="321" y="423"/>
                    <a:pt x="321" y="423"/>
                  </a:cubicBezTo>
                  <a:cubicBezTo>
                    <a:pt x="322" y="424"/>
                    <a:pt x="323" y="424"/>
                    <a:pt x="324" y="424"/>
                  </a:cubicBezTo>
                  <a:cubicBezTo>
                    <a:pt x="326" y="425"/>
                    <a:pt x="328" y="426"/>
                    <a:pt x="330" y="428"/>
                  </a:cubicBezTo>
                  <a:cubicBezTo>
                    <a:pt x="331" y="429"/>
                    <a:pt x="340" y="436"/>
                    <a:pt x="352" y="446"/>
                  </a:cubicBezTo>
                  <a:cubicBezTo>
                    <a:pt x="358" y="452"/>
                    <a:pt x="365" y="457"/>
                    <a:pt x="372" y="463"/>
                  </a:cubicBezTo>
                  <a:cubicBezTo>
                    <a:pt x="381" y="470"/>
                    <a:pt x="390" y="478"/>
                    <a:pt x="399" y="485"/>
                  </a:cubicBezTo>
                  <a:cubicBezTo>
                    <a:pt x="405" y="491"/>
                    <a:pt x="412" y="497"/>
                    <a:pt x="418" y="502"/>
                  </a:cubicBezTo>
                  <a:cubicBezTo>
                    <a:pt x="428" y="509"/>
                    <a:pt x="436" y="517"/>
                    <a:pt x="444" y="523"/>
                  </a:cubicBezTo>
                  <a:cubicBezTo>
                    <a:pt x="451" y="529"/>
                    <a:pt x="458" y="535"/>
                    <a:pt x="464" y="539"/>
                  </a:cubicBezTo>
                  <a:cubicBezTo>
                    <a:pt x="475" y="549"/>
                    <a:pt x="482" y="555"/>
                    <a:pt x="482" y="555"/>
                  </a:cubicBezTo>
                  <a:cubicBezTo>
                    <a:pt x="482" y="555"/>
                    <a:pt x="482" y="555"/>
                    <a:pt x="482" y="555"/>
                  </a:cubicBezTo>
                  <a:cubicBezTo>
                    <a:pt x="483" y="555"/>
                    <a:pt x="483" y="556"/>
                    <a:pt x="483" y="556"/>
                  </a:cubicBezTo>
                  <a:cubicBezTo>
                    <a:pt x="484" y="556"/>
                    <a:pt x="484" y="556"/>
                    <a:pt x="484" y="556"/>
                  </a:cubicBezTo>
                  <a:cubicBezTo>
                    <a:pt x="485" y="557"/>
                    <a:pt x="487" y="557"/>
                    <a:pt x="488" y="557"/>
                  </a:cubicBezTo>
                  <a:cubicBezTo>
                    <a:pt x="488" y="557"/>
                    <a:pt x="488" y="557"/>
                    <a:pt x="488" y="557"/>
                  </a:cubicBezTo>
                  <a:cubicBezTo>
                    <a:pt x="488" y="557"/>
                    <a:pt x="488" y="557"/>
                    <a:pt x="489" y="557"/>
                  </a:cubicBezTo>
                  <a:cubicBezTo>
                    <a:pt x="489" y="558"/>
                    <a:pt x="489" y="558"/>
                    <a:pt x="489" y="558"/>
                  </a:cubicBezTo>
                  <a:cubicBezTo>
                    <a:pt x="489" y="558"/>
                    <a:pt x="489" y="558"/>
                    <a:pt x="490" y="558"/>
                  </a:cubicBezTo>
                  <a:cubicBezTo>
                    <a:pt x="491" y="557"/>
                    <a:pt x="491" y="557"/>
                    <a:pt x="492" y="557"/>
                  </a:cubicBezTo>
                  <a:cubicBezTo>
                    <a:pt x="493" y="557"/>
                    <a:pt x="493" y="557"/>
                    <a:pt x="494" y="557"/>
                  </a:cubicBezTo>
                  <a:cubicBezTo>
                    <a:pt x="496" y="556"/>
                    <a:pt x="497" y="555"/>
                    <a:pt x="498" y="554"/>
                  </a:cubicBezTo>
                  <a:cubicBezTo>
                    <a:pt x="498" y="554"/>
                    <a:pt x="498" y="554"/>
                    <a:pt x="498" y="554"/>
                  </a:cubicBezTo>
                  <a:cubicBezTo>
                    <a:pt x="498" y="554"/>
                    <a:pt x="498" y="554"/>
                    <a:pt x="499" y="553"/>
                  </a:cubicBezTo>
                  <a:cubicBezTo>
                    <a:pt x="499" y="553"/>
                    <a:pt x="499" y="553"/>
                    <a:pt x="499" y="553"/>
                  </a:cubicBezTo>
                  <a:cubicBezTo>
                    <a:pt x="501" y="550"/>
                    <a:pt x="502" y="547"/>
                    <a:pt x="501" y="543"/>
                  </a:cubicBezTo>
                  <a:cubicBezTo>
                    <a:pt x="501" y="543"/>
                    <a:pt x="501" y="542"/>
                    <a:pt x="501" y="542"/>
                  </a:cubicBezTo>
                  <a:cubicBezTo>
                    <a:pt x="501" y="542"/>
                    <a:pt x="501" y="541"/>
                    <a:pt x="501" y="540"/>
                  </a:cubicBezTo>
                  <a:cubicBezTo>
                    <a:pt x="501" y="540"/>
                    <a:pt x="501" y="540"/>
                    <a:pt x="501" y="540"/>
                  </a:cubicBezTo>
                  <a:cubicBezTo>
                    <a:pt x="500" y="539"/>
                    <a:pt x="500" y="538"/>
                    <a:pt x="500" y="538"/>
                  </a:cubicBezTo>
                  <a:cubicBezTo>
                    <a:pt x="499" y="537"/>
                    <a:pt x="499" y="537"/>
                    <a:pt x="499" y="537"/>
                  </a:cubicBezTo>
                  <a:cubicBezTo>
                    <a:pt x="499" y="537"/>
                    <a:pt x="499" y="537"/>
                    <a:pt x="499" y="537"/>
                  </a:cubicBezTo>
                  <a:cubicBezTo>
                    <a:pt x="499" y="537"/>
                    <a:pt x="499" y="537"/>
                    <a:pt x="498" y="535"/>
                  </a:cubicBezTo>
                  <a:cubicBezTo>
                    <a:pt x="498" y="535"/>
                    <a:pt x="491" y="529"/>
                    <a:pt x="480" y="520"/>
                  </a:cubicBezTo>
                  <a:cubicBezTo>
                    <a:pt x="474" y="515"/>
                    <a:pt x="467" y="510"/>
                    <a:pt x="460" y="503"/>
                  </a:cubicBezTo>
                  <a:cubicBezTo>
                    <a:pt x="452" y="497"/>
                    <a:pt x="444" y="490"/>
                    <a:pt x="436" y="483"/>
                  </a:cubicBezTo>
                  <a:cubicBezTo>
                    <a:pt x="429" y="477"/>
                    <a:pt x="422" y="471"/>
                    <a:pt x="416" y="466"/>
                  </a:cubicBezTo>
                  <a:cubicBezTo>
                    <a:pt x="406" y="457"/>
                    <a:pt x="396" y="449"/>
                    <a:pt x="389" y="443"/>
                  </a:cubicBezTo>
                  <a:cubicBezTo>
                    <a:pt x="379" y="435"/>
                    <a:pt x="372" y="429"/>
                    <a:pt x="372" y="429"/>
                  </a:cubicBezTo>
                  <a:cubicBezTo>
                    <a:pt x="372" y="429"/>
                    <a:pt x="372" y="429"/>
                    <a:pt x="372" y="429"/>
                  </a:cubicBezTo>
                  <a:cubicBezTo>
                    <a:pt x="372" y="428"/>
                    <a:pt x="371" y="428"/>
                    <a:pt x="370" y="427"/>
                  </a:cubicBezTo>
                  <a:cubicBezTo>
                    <a:pt x="370" y="427"/>
                    <a:pt x="370" y="426"/>
                    <a:pt x="370" y="426"/>
                  </a:cubicBezTo>
                  <a:cubicBezTo>
                    <a:pt x="369" y="426"/>
                    <a:pt x="369" y="426"/>
                    <a:pt x="369" y="425"/>
                  </a:cubicBezTo>
                  <a:cubicBezTo>
                    <a:pt x="369" y="425"/>
                    <a:pt x="369" y="425"/>
                    <a:pt x="369" y="425"/>
                  </a:cubicBezTo>
                  <a:cubicBezTo>
                    <a:pt x="368" y="424"/>
                    <a:pt x="368" y="424"/>
                    <a:pt x="368" y="423"/>
                  </a:cubicBezTo>
                  <a:cubicBezTo>
                    <a:pt x="366" y="421"/>
                    <a:pt x="366" y="419"/>
                    <a:pt x="366" y="416"/>
                  </a:cubicBezTo>
                  <a:cubicBezTo>
                    <a:pt x="366" y="416"/>
                    <a:pt x="366" y="416"/>
                    <a:pt x="366" y="416"/>
                  </a:cubicBezTo>
                  <a:cubicBezTo>
                    <a:pt x="366" y="413"/>
                    <a:pt x="366" y="410"/>
                    <a:pt x="368" y="408"/>
                  </a:cubicBezTo>
                  <a:cubicBezTo>
                    <a:pt x="368" y="407"/>
                    <a:pt x="369" y="406"/>
                    <a:pt x="369" y="405"/>
                  </a:cubicBezTo>
                  <a:cubicBezTo>
                    <a:pt x="370" y="405"/>
                    <a:pt x="370" y="404"/>
                    <a:pt x="371" y="404"/>
                  </a:cubicBezTo>
                  <a:cubicBezTo>
                    <a:pt x="371" y="404"/>
                    <a:pt x="371" y="404"/>
                    <a:pt x="371" y="404"/>
                  </a:cubicBezTo>
                  <a:cubicBezTo>
                    <a:pt x="371" y="403"/>
                    <a:pt x="371" y="403"/>
                    <a:pt x="372" y="403"/>
                  </a:cubicBezTo>
                  <a:cubicBezTo>
                    <a:pt x="376" y="398"/>
                    <a:pt x="382" y="397"/>
                    <a:pt x="388" y="398"/>
                  </a:cubicBezTo>
                  <a:cubicBezTo>
                    <a:pt x="389" y="399"/>
                    <a:pt x="390" y="399"/>
                    <a:pt x="391" y="400"/>
                  </a:cubicBezTo>
                  <a:cubicBezTo>
                    <a:pt x="391" y="400"/>
                    <a:pt x="392" y="400"/>
                    <a:pt x="392" y="400"/>
                  </a:cubicBezTo>
                  <a:cubicBezTo>
                    <a:pt x="393" y="401"/>
                    <a:pt x="394" y="401"/>
                    <a:pt x="394" y="402"/>
                  </a:cubicBezTo>
                  <a:cubicBezTo>
                    <a:pt x="395" y="402"/>
                    <a:pt x="395" y="402"/>
                    <a:pt x="395" y="402"/>
                  </a:cubicBezTo>
                  <a:cubicBezTo>
                    <a:pt x="395" y="402"/>
                    <a:pt x="395" y="402"/>
                    <a:pt x="412" y="417"/>
                  </a:cubicBezTo>
                  <a:cubicBezTo>
                    <a:pt x="412" y="417"/>
                    <a:pt x="412" y="417"/>
                    <a:pt x="438" y="440"/>
                  </a:cubicBezTo>
                  <a:cubicBezTo>
                    <a:pt x="438" y="440"/>
                    <a:pt x="438" y="440"/>
                    <a:pt x="458" y="456"/>
                  </a:cubicBezTo>
                  <a:cubicBezTo>
                    <a:pt x="458" y="456"/>
                    <a:pt x="458" y="456"/>
                    <a:pt x="482" y="476"/>
                  </a:cubicBezTo>
                  <a:cubicBezTo>
                    <a:pt x="482" y="476"/>
                    <a:pt x="482" y="476"/>
                    <a:pt x="502" y="493"/>
                  </a:cubicBezTo>
                  <a:cubicBezTo>
                    <a:pt x="502" y="493"/>
                    <a:pt x="502" y="493"/>
                    <a:pt x="521" y="509"/>
                  </a:cubicBezTo>
                  <a:cubicBezTo>
                    <a:pt x="521" y="509"/>
                    <a:pt x="521" y="509"/>
                    <a:pt x="523" y="510"/>
                  </a:cubicBezTo>
                  <a:cubicBezTo>
                    <a:pt x="523" y="511"/>
                    <a:pt x="523" y="511"/>
                    <a:pt x="524" y="511"/>
                  </a:cubicBezTo>
                  <a:cubicBezTo>
                    <a:pt x="527" y="513"/>
                    <a:pt x="530" y="514"/>
                    <a:pt x="533" y="513"/>
                  </a:cubicBezTo>
                  <a:cubicBezTo>
                    <a:pt x="534" y="513"/>
                    <a:pt x="535" y="513"/>
                    <a:pt x="537" y="512"/>
                  </a:cubicBezTo>
                  <a:cubicBezTo>
                    <a:pt x="537" y="511"/>
                    <a:pt x="538" y="511"/>
                    <a:pt x="539" y="510"/>
                  </a:cubicBezTo>
                  <a:cubicBezTo>
                    <a:pt x="539" y="510"/>
                    <a:pt x="539" y="510"/>
                    <a:pt x="539" y="510"/>
                  </a:cubicBezTo>
                  <a:cubicBezTo>
                    <a:pt x="539" y="510"/>
                    <a:pt x="539" y="510"/>
                    <a:pt x="540" y="510"/>
                  </a:cubicBezTo>
                  <a:cubicBezTo>
                    <a:pt x="540" y="509"/>
                    <a:pt x="540" y="509"/>
                    <a:pt x="540" y="509"/>
                  </a:cubicBezTo>
                  <a:cubicBezTo>
                    <a:pt x="542" y="507"/>
                    <a:pt x="543" y="504"/>
                    <a:pt x="544" y="502"/>
                  </a:cubicBezTo>
                  <a:cubicBezTo>
                    <a:pt x="544" y="502"/>
                    <a:pt x="544" y="502"/>
                    <a:pt x="544" y="501"/>
                  </a:cubicBezTo>
                  <a:cubicBezTo>
                    <a:pt x="544" y="501"/>
                    <a:pt x="544" y="501"/>
                    <a:pt x="544" y="501"/>
                  </a:cubicBezTo>
                  <a:cubicBezTo>
                    <a:pt x="544" y="501"/>
                    <a:pt x="544" y="501"/>
                    <a:pt x="544" y="499"/>
                  </a:cubicBezTo>
                  <a:cubicBezTo>
                    <a:pt x="543" y="496"/>
                    <a:pt x="541" y="493"/>
                    <a:pt x="539" y="490"/>
                  </a:cubicBezTo>
                  <a:cubicBezTo>
                    <a:pt x="539" y="490"/>
                    <a:pt x="539" y="490"/>
                    <a:pt x="499" y="456"/>
                  </a:cubicBezTo>
                  <a:cubicBezTo>
                    <a:pt x="499" y="456"/>
                    <a:pt x="499" y="456"/>
                    <a:pt x="476" y="437"/>
                  </a:cubicBezTo>
                  <a:cubicBezTo>
                    <a:pt x="476" y="437"/>
                    <a:pt x="476" y="437"/>
                    <a:pt x="456" y="420"/>
                  </a:cubicBezTo>
                  <a:cubicBezTo>
                    <a:pt x="456" y="420"/>
                    <a:pt x="456" y="420"/>
                    <a:pt x="429" y="397"/>
                  </a:cubicBezTo>
                  <a:cubicBezTo>
                    <a:pt x="429" y="397"/>
                    <a:pt x="429" y="397"/>
                    <a:pt x="428" y="397"/>
                  </a:cubicBezTo>
                  <a:cubicBezTo>
                    <a:pt x="428" y="396"/>
                    <a:pt x="428" y="396"/>
                    <a:pt x="428" y="396"/>
                  </a:cubicBezTo>
                  <a:cubicBezTo>
                    <a:pt x="428" y="396"/>
                    <a:pt x="428" y="396"/>
                    <a:pt x="427" y="396"/>
                  </a:cubicBezTo>
                  <a:cubicBezTo>
                    <a:pt x="427" y="395"/>
                    <a:pt x="426" y="394"/>
                    <a:pt x="426" y="394"/>
                  </a:cubicBezTo>
                  <a:cubicBezTo>
                    <a:pt x="426" y="393"/>
                    <a:pt x="425" y="393"/>
                    <a:pt x="425" y="392"/>
                  </a:cubicBezTo>
                  <a:cubicBezTo>
                    <a:pt x="424" y="390"/>
                    <a:pt x="424" y="389"/>
                    <a:pt x="423" y="388"/>
                  </a:cubicBezTo>
                  <a:cubicBezTo>
                    <a:pt x="423" y="388"/>
                    <a:pt x="423" y="388"/>
                    <a:pt x="423" y="387"/>
                  </a:cubicBezTo>
                  <a:cubicBezTo>
                    <a:pt x="423" y="386"/>
                    <a:pt x="423" y="386"/>
                    <a:pt x="423" y="386"/>
                  </a:cubicBezTo>
                  <a:cubicBezTo>
                    <a:pt x="423" y="386"/>
                    <a:pt x="423" y="386"/>
                    <a:pt x="423" y="385"/>
                  </a:cubicBezTo>
                  <a:cubicBezTo>
                    <a:pt x="423" y="384"/>
                    <a:pt x="424" y="382"/>
                    <a:pt x="424" y="380"/>
                  </a:cubicBezTo>
                  <a:cubicBezTo>
                    <a:pt x="424" y="380"/>
                    <a:pt x="424" y="380"/>
                    <a:pt x="424" y="380"/>
                  </a:cubicBezTo>
                  <a:cubicBezTo>
                    <a:pt x="424" y="380"/>
                    <a:pt x="425" y="380"/>
                    <a:pt x="425" y="379"/>
                  </a:cubicBezTo>
                  <a:cubicBezTo>
                    <a:pt x="425" y="379"/>
                    <a:pt x="425" y="378"/>
                    <a:pt x="425" y="378"/>
                  </a:cubicBezTo>
                  <a:cubicBezTo>
                    <a:pt x="425" y="378"/>
                    <a:pt x="425" y="378"/>
                    <a:pt x="425" y="378"/>
                  </a:cubicBezTo>
                  <a:cubicBezTo>
                    <a:pt x="425" y="377"/>
                    <a:pt x="425" y="377"/>
                    <a:pt x="425" y="377"/>
                  </a:cubicBezTo>
                  <a:cubicBezTo>
                    <a:pt x="426" y="377"/>
                    <a:pt x="426" y="376"/>
                    <a:pt x="427" y="375"/>
                  </a:cubicBezTo>
                  <a:cubicBezTo>
                    <a:pt x="427" y="375"/>
                    <a:pt x="427" y="375"/>
                    <a:pt x="428" y="374"/>
                  </a:cubicBezTo>
                  <a:cubicBezTo>
                    <a:pt x="428" y="374"/>
                    <a:pt x="428" y="374"/>
                    <a:pt x="428" y="374"/>
                  </a:cubicBezTo>
                  <a:cubicBezTo>
                    <a:pt x="428" y="374"/>
                    <a:pt x="428" y="374"/>
                    <a:pt x="428" y="374"/>
                  </a:cubicBezTo>
                  <a:cubicBezTo>
                    <a:pt x="428" y="374"/>
                    <a:pt x="428" y="374"/>
                    <a:pt x="428" y="374"/>
                  </a:cubicBezTo>
                  <a:cubicBezTo>
                    <a:pt x="428" y="374"/>
                    <a:pt x="428" y="374"/>
                    <a:pt x="429" y="374"/>
                  </a:cubicBezTo>
                  <a:cubicBezTo>
                    <a:pt x="429" y="374"/>
                    <a:pt x="429" y="374"/>
                    <a:pt x="429" y="373"/>
                  </a:cubicBezTo>
                  <a:cubicBezTo>
                    <a:pt x="429" y="373"/>
                    <a:pt x="429" y="373"/>
                    <a:pt x="429" y="373"/>
                  </a:cubicBezTo>
                  <a:cubicBezTo>
                    <a:pt x="429" y="373"/>
                    <a:pt x="430" y="373"/>
                    <a:pt x="430" y="373"/>
                  </a:cubicBezTo>
                  <a:cubicBezTo>
                    <a:pt x="430" y="372"/>
                    <a:pt x="430" y="372"/>
                    <a:pt x="431" y="372"/>
                  </a:cubicBezTo>
                  <a:cubicBezTo>
                    <a:pt x="432" y="372"/>
                    <a:pt x="433" y="371"/>
                    <a:pt x="433" y="371"/>
                  </a:cubicBezTo>
                  <a:cubicBezTo>
                    <a:pt x="436" y="370"/>
                    <a:pt x="440" y="370"/>
                    <a:pt x="443" y="371"/>
                  </a:cubicBezTo>
                  <a:cubicBezTo>
                    <a:pt x="444" y="372"/>
                    <a:pt x="446" y="372"/>
                    <a:pt x="447" y="373"/>
                  </a:cubicBezTo>
                  <a:cubicBezTo>
                    <a:pt x="448" y="373"/>
                    <a:pt x="448" y="373"/>
                    <a:pt x="448" y="373"/>
                  </a:cubicBezTo>
                  <a:cubicBezTo>
                    <a:pt x="448" y="373"/>
                    <a:pt x="448" y="374"/>
                    <a:pt x="448" y="374"/>
                  </a:cubicBezTo>
                  <a:cubicBezTo>
                    <a:pt x="451" y="376"/>
                    <a:pt x="462" y="385"/>
                    <a:pt x="476" y="396"/>
                  </a:cubicBezTo>
                  <a:cubicBezTo>
                    <a:pt x="493" y="410"/>
                    <a:pt x="516" y="429"/>
                    <a:pt x="535" y="444"/>
                  </a:cubicBezTo>
                  <a:cubicBezTo>
                    <a:pt x="552" y="458"/>
                    <a:pt x="565" y="468"/>
                    <a:pt x="566" y="469"/>
                  </a:cubicBezTo>
                  <a:cubicBezTo>
                    <a:pt x="567" y="469"/>
                    <a:pt x="567" y="469"/>
                    <a:pt x="567" y="469"/>
                  </a:cubicBezTo>
                  <a:cubicBezTo>
                    <a:pt x="568" y="469"/>
                    <a:pt x="568" y="469"/>
                    <a:pt x="568" y="469"/>
                  </a:cubicBezTo>
                  <a:cubicBezTo>
                    <a:pt x="568" y="469"/>
                    <a:pt x="568" y="469"/>
                    <a:pt x="568" y="469"/>
                  </a:cubicBezTo>
                  <a:cubicBezTo>
                    <a:pt x="568" y="469"/>
                    <a:pt x="568" y="470"/>
                    <a:pt x="569" y="470"/>
                  </a:cubicBezTo>
                  <a:cubicBezTo>
                    <a:pt x="569" y="470"/>
                    <a:pt x="570" y="470"/>
                    <a:pt x="571" y="470"/>
                  </a:cubicBezTo>
                  <a:cubicBezTo>
                    <a:pt x="571" y="470"/>
                    <a:pt x="571" y="470"/>
                    <a:pt x="572" y="470"/>
                  </a:cubicBezTo>
                  <a:cubicBezTo>
                    <a:pt x="572" y="470"/>
                    <a:pt x="572" y="470"/>
                    <a:pt x="573" y="470"/>
                  </a:cubicBezTo>
                  <a:cubicBezTo>
                    <a:pt x="576" y="470"/>
                    <a:pt x="578" y="469"/>
                    <a:pt x="580" y="468"/>
                  </a:cubicBezTo>
                  <a:cubicBezTo>
                    <a:pt x="580" y="468"/>
                    <a:pt x="580" y="468"/>
                    <a:pt x="580" y="467"/>
                  </a:cubicBezTo>
                  <a:cubicBezTo>
                    <a:pt x="581" y="467"/>
                    <a:pt x="581" y="467"/>
                    <a:pt x="581" y="467"/>
                  </a:cubicBezTo>
                  <a:cubicBezTo>
                    <a:pt x="581" y="467"/>
                    <a:pt x="581" y="467"/>
                    <a:pt x="581" y="467"/>
                  </a:cubicBezTo>
                  <a:cubicBezTo>
                    <a:pt x="581" y="467"/>
                    <a:pt x="581" y="467"/>
                    <a:pt x="581" y="467"/>
                  </a:cubicBezTo>
                  <a:cubicBezTo>
                    <a:pt x="583" y="466"/>
                    <a:pt x="584" y="464"/>
                    <a:pt x="584" y="463"/>
                  </a:cubicBezTo>
                  <a:cubicBezTo>
                    <a:pt x="584" y="462"/>
                    <a:pt x="584" y="462"/>
                    <a:pt x="584" y="462"/>
                  </a:cubicBezTo>
                  <a:cubicBezTo>
                    <a:pt x="585" y="461"/>
                    <a:pt x="585" y="460"/>
                    <a:pt x="585" y="458"/>
                  </a:cubicBezTo>
                  <a:cubicBezTo>
                    <a:pt x="585" y="456"/>
                    <a:pt x="585" y="454"/>
                    <a:pt x="584" y="453"/>
                  </a:cubicBezTo>
                  <a:cubicBezTo>
                    <a:pt x="584" y="452"/>
                    <a:pt x="584" y="452"/>
                    <a:pt x="584" y="452"/>
                  </a:cubicBezTo>
                  <a:cubicBezTo>
                    <a:pt x="584" y="452"/>
                    <a:pt x="584" y="452"/>
                    <a:pt x="584" y="452"/>
                  </a:cubicBezTo>
                  <a:cubicBezTo>
                    <a:pt x="584" y="452"/>
                    <a:pt x="584" y="452"/>
                    <a:pt x="584" y="451"/>
                  </a:cubicBezTo>
                  <a:cubicBezTo>
                    <a:pt x="584" y="451"/>
                    <a:pt x="584" y="451"/>
                    <a:pt x="584" y="451"/>
                  </a:cubicBezTo>
                  <a:cubicBezTo>
                    <a:pt x="583" y="451"/>
                    <a:pt x="583" y="450"/>
                    <a:pt x="583" y="450"/>
                  </a:cubicBezTo>
                  <a:cubicBezTo>
                    <a:pt x="583" y="450"/>
                    <a:pt x="583" y="450"/>
                    <a:pt x="583" y="450"/>
                  </a:cubicBezTo>
                  <a:cubicBezTo>
                    <a:pt x="583" y="450"/>
                    <a:pt x="583" y="450"/>
                    <a:pt x="583" y="450"/>
                  </a:cubicBezTo>
                  <a:cubicBezTo>
                    <a:pt x="583" y="450"/>
                    <a:pt x="573" y="442"/>
                    <a:pt x="560" y="431"/>
                  </a:cubicBezTo>
                  <a:cubicBezTo>
                    <a:pt x="544" y="418"/>
                    <a:pt x="522" y="400"/>
                    <a:pt x="507" y="388"/>
                  </a:cubicBezTo>
                  <a:cubicBezTo>
                    <a:pt x="497" y="380"/>
                    <a:pt x="491" y="374"/>
                    <a:pt x="491" y="374"/>
                  </a:cubicBezTo>
                  <a:cubicBezTo>
                    <a:pt x="491" y="374"/>
                    <a:pt x="491" y="374"/>
                    <a:pt x="491" y="374"/>
                  </a:cubicBezTo>
                  <a:cubicBezTo>
                    <a:pt x="491" y="374"/>
                    <a:pt x="491" y="374"/>
                    <a:pt x="491" y="374"/>
                  </a:cubicBezTo>
                  <a:cubicBezTo>
                    <a:pt x="491" y="374"/>
                    <a:pt x="491" y="374"/>
                    <a:pt x="490" y="373"/>
                  </a:cubicBezTo>
                  <a:cubicBezTo>
                    <a:pt x="490" y="373"/>
                    <a:pt x="490" y="373"/>
                    <a:pt x="489" y="373"/>
                  </a:cubicBezTo>
                  <a:cubicBezTo>
                    <a:pt x="489" y="373"/>
                    <a:pt x="489" y="373"/>
                    <a:pt x="489" y="372"/>
                  </a:cubicBezTo>
                  <a:cubicBezTo>
                    <a:pt x="489" y="372"/>
                    <a:pt x="489" y="372"/>
                    <a:pt x="489" y="371"/>
                  </a:cubicBezTo>
                  <a:cubicBezTo>
                    <a:pt x="489" y="370"/>
                    <a:pt x="489" y="369"/>
                    <a:pt x="488" y="369"/>
                  </a:cubicBezTo>
                  <a:cubicBezTo>
                    <a:pt x="488" y="368"/>
                    <a:pt x="488" y="368"/>
                    <a:pt x="488" y="368"/>
                  </a:cubicBezTo>
                  <a:cubicBezTo>
                    <a:pt x="488" y="367"/>
                    <a:pt x="488" y="367"/>
                    <a:pt x="488" y="367"/>
                  </a:cubicBezTo>
                  <a:cubicBezTo>
                    <a:pt x="488" y="365"/>
                    <a:pt x="489" y="362"/>
                    <a:pt x="491" y="360"/>
                  </a:cubicBezTo>
                  <a:cubicBezTo>
                    <a:pt x="491" y="360"/>
                    <a:pt x="491" y="360"/>
                    <a:pt x="491" y="360"/>
                  </a:cubicBezTo>
                  <a:cubicBezTo>
                    <a:pt x="491" y="360"/>
                    <a:pt x="492" y="358"/>
                    <a:pt x="493" y="358"/>
                  </a:cubicBezTo>
                  <a:cubicBezTo>
                    <a:pt x="493" y="358"/>
                    <a:pt x="493" y="358"/>
                    <a:pt x="493" y="358"/>
                  </a:cubicBezTo>
                  <a:cubicBezTo>
                    <a:pt x="493" y="357"/>
                    <a:pt x="493" y="357"/>
                    <a:pt x="493" y="357"/>
                  </a:cubicBezTo>
                  <a:cubicBezTo>
                    <a:pt x="495" y="357"/>
                    <a:pt x="496" y="356"/>
                    <a:pt x="497" y="356"/>
                  </a:cubicBezTo>
                  <a:cubicBezTo>
                    <a:pt x="497" y="356"/>
                    <a:pt x="497" y="356"/>
                    <a:pt x="497" y="355"/>
                  </a:cubicBezTo>
                  <a:cubicBezTo>
                    <a:pt x="498" y="355"/>
                    <a:pt x="498" y="355"/>
                    <a:pt x="498" y="355"/>
                  </a:cubicBezTo>
                  <a:cubicBezTo>
                    <a:pt x="500" y="354"/>
                    <a:pt x="502" y="354"/>
                    <a:pt x="504" y="355"/>
                  </a:cubicBezTo>
                  <a:cubicBezTo>
                    <a:pt x="505" y="355"/>
                    <a:pt x="505" y="355"/>
                    <a:pt x="505" y="355"/>
                  </a:cubicBezTo>
                  <a:cubicBezTo>
                    <a:pt x="505" y="356"/>
                    <a:pt x="506" y="356"/>
                    <a:pt x="507" y="356"/>
                  </a:cubicBezTo>
                  <a:cubicBezTo>
                    <a:pt x="507" y="356"/>
                    <a:pt x="508" y="357"/>
                    <a:pt x="509" y="357"/>
                  </a:cubicBezTo>
                  <a:cubicBezTo>
                    <a:pt x="509" y="357"/>
                    <a:pt x="509" y="357"/>
                    <a:pt x="513" y="361"/>
                  </a:cubicBezTo>
                  <a:cubicBezTo>
                    <a:pt x="513" y="361"/>
                    <a:pt x="513" y="361"/>
                    <a:pt x="532" y="376"/>
                  </a:cubicBezTo>
                  <a:cubicBezTo>
                    <a:pt x="532" y="376"/>
                    <a:pt x="532" y="376"/>
                    <a:pt x="680" y="491"/>
                  </a:cubicBezTo>
                  <a:cubicBezTo>
                    <a:pt x="680" y="491"/>
                    <a:pt x="680" y="491"/>
                    <a:pt x="690" y="508"/>
                  </a:cubicBezTo>
                  <a:cubicBezTo>
                    <a:pt x="690" y="508"/>
                    <a:pt x="690" y="508"/>
                    <a:pt x="710" y="542"/>
                  </a:cubicBezTo>
                  <a:cubicBezTo>
                    <a:pt x="710" y="542"/>
                    <a:pt x="710" y="542"/>
                    <a:pt x="748" y="607"/>
                  </a:cubicBezTo>
                  <a:cubicBezTo>
                    <a:pt x="748" y="607"/>
                    <a:pt x="748" y="607"/>
                    <a:pt x="756" y="598"/>
                  </a:cubicBezTo>
                  <a:cubicBezTo>
                    <a:pt x="759" y="595"/>
                    <a:pt x="763" y="591"/>
                    <a:pt x="767" y="589"/>
                  </a:cubicBezTo>
                  <a:cubicBezTo>
                    <a:pt x="767" y="589"/>
                    <a:pt x="767" y="589"/>
                    <a:pt x="767" y="589"/>
                  </a:cubicBezTo>
                  <a:cubicBezTo>
                    <a:pt x="768" y="589"/>
                    <a:pt x="768" y="589"/>
                    <a:pt x="768" y="589"/>
                  </a:cubicBezTo>
                  <a:close/>
                  <a:moveTo>
                    <a:pt x="809" y="275"/>
                  </a:moveTo>
                  <a:cubicBezTo>
                    <a:pt x="808" y="275"/>
                    <a:pt x="807" y="275"/>
                    <a:pt x="807" y="275"/>
                  </a:cubicBezTo>
                  <a:cubicBezTo>
                    <a:pt x="799" y="276"/>
                    <a:pt x="791" y="275"/>
                    <a:pt x="784" y="271"/>
                  </a:cubicBezTo>
                  <a:cubicBezTo>
                    <a:pt x="784" y="271"/>
                    <a:pt x="784" y="271"/>
                    <a:pt x="784" y="273"/>
                  </a:cubicBezTo>
                  <a:cubicBezTo>
                    <a:pt x="784" y="273"/>
                    <a:pt x="784" y="273"/>
                    <a:pt x="775" y="388"/>
                  </a:cubicBezTo>
                  <a:cubicBezTo>
                    <a:pt x="775" y="388"/>
                    <a:pt x="775" y="388"/>
                    <a:pt x="712" y="450"/>
                  </a:cubicBezTo>
                  <a:cubicBezTo>
                    <a:pt x="712" y="450"/>
                    <a:pt x="712" y="450"/>
                    <a:pt x="713" y="451"/>
                  </a:cubicBezTo>
                  <a:cubicBezTo>
                    <a:pt x="719" y="456"/>
                    <a:pt x="722" y="461"/>
                    <a:pt x="724" y="463"/>
                  </a:cubicBezTo>
                  <a:cubicBezTo>
                    <a:pt x="724" y="463"/>
                    <a:pt x="724" y="463"/>
                    <a:pt x="724" y="464"/>
                  </a:cubicBezTo>
                  <a:cubicBezTo>
                    <a:pt x="724" y="464"/>
                    <a:pt x="724" y="464"/>
                    <a:pt x="728" y="470"/>
                  </a:cubicBezTo>
                  <a:cubicBezTo>
                    <a:pt x="728" y="470"/>
                    <a:pt x="728" y="470"/>
                    <a:pt x="797" y="401"/>
                  </a:cubicBezTo>
                  <a:cubicBezTo>
                    <a:pt x="799" y="399"/>
                    <a:pt x="800" y="395"/>
                    <a:pt x="800" y="391"/>
                  </a:cubicBezTo>
                  <a:cubicBezTo>
                    <a:pt x="805" y="334"/>
                    <a:pt x="809" y="275"/>
                    <a:pt x="809" y="275"/>
                  </a:cubicBezTo>
                  <a:close/>
                  <a:moveTo>
                    <a:pt x="878" y="164"/>
                  </a:moveTo>
                  <a:cubicBezTo>
                    <a:pt x="883" y="158"/>
                    <a:pt x="882" y="150"/>
                    <a:pt x="876" y="146"/>
                  </a:cubicBezTo>
                  <a:cubicBezTo>
                    <a:pt x="876" y="146"/>
                    <a:pt x="876" y="146"/>
                    <a:pt x="700" y="4"/>
                  </a:cubicBezTo>
                  <a:cubicBezTo>
                    <a:pt x="695" y="0"/>
                    <a:pt x="687" y="1"/>
                    <a:pt x="683" y="6"/>
                  </a:cubicBezTo>
                  <a:cubicBezTo>
                    <a:pt x="683" y="6"/>
                    <a:pt x="683" y="6"/>
                    <a:pt x="616" y="88"/>
                  </a:cubicBezTo>
                  <a:cubicBezTo>
                    <a:pt x="612" y="94"/>
                    <a:pt x="613" y="102"/>
                    <a:pt x="618" y="106"/>
                  </a:cubicBezTo>
                  <a:cubicBezTo>
                    <a:pt x="618" y="106"/>
                    <a:pt x="618" y="106"/>
                    <a:pt x="794" y="248"/>
                  </a:cubicBezTo>
                  <a:cubicBezTo>
                    <a:pt x="800" y="252"/>
                    <a:pt x="808" y="251"/>
                    <a:pt x="812" y="246"/>
                  </a:cubicBezTo>
                  <a:cubicBezTo>
                    <a:pt x="812" y="246"/>
                    <a:pt x="812" y="246"/>
                    <a:pt x="878" y="164"/>
                  </a:cubicBezTo>
                  <a:close/>
                  <a:moveTo>
                    <a:pt x="247" y="88"/>
                  </a:moveTo>
                  <a:cubicBezTo>
                    <a:pt x="251" y="83"/>
                    <a:pt x="250" y="75"/>
                    <a:pt x="245" y="70"/>
                  </a:cubicBezTo>
                  <a:cubicBezTo>
                    <a:pt x="245" y="70"/>
                    <a:pt x="245" y="70"/>
                    <a:pt x="163" y="4"/>
                  </a:cubicBezTo>
                  <a:cubicBezTo>
                    <a:pt x="157" y="0"/>
                    <a:pt x="149" y="0"/>
                    <a:pt x="145" y="6"/>
                  </a:cubicBezTo>
                  <a:cubicBezTo>
                    <a:pt x="145" y="6"/>
                    <a:pt x="145" y="6"/>
                    <a:pt x="4" y="181"/>
                  </a:cubicBezTo>
                  <a:cubicBezTo>
                    <a:pt x="0" y="187"/>
                    <a:pt x="0" y="195"/>
                    <a:pt x="6" y="199"/>
                  </a:cubicBezTo>
                  <a:cubicBezTo>
                    <a:pt x="6" y="199"/>
                    <a:pt x="6" y="199"/>
                    <a:pt x="88" y="266"/>
                  </a:cubicBezTo>
                  <a:cubicBezTo>
                    <a:pt x="93" y="270"/>
                    <a:pt x="101" y="269"/>
                    <a:pt x="106" y="263"/>
                  </a:cubicBezTo>
                  <a:cubicBezTo>
                    <a:pt x="106" y="263"/>
                    <a:pt x="106" y="263"/>
                    <a:pt x="247" y="88"/>
                  </a:cubicBezTo>
                  <a:close/>
                  <a:moveTo>
                    <a:pt x="265" y="792"/>
                  </a:moveTo>
                  <a:cubicBezTo>
                    <a:pt x="270" y="787"/>
                    <a:pt x="268" y="779"/>
                    <a:pt x="263" y="774"/>
                  </a:cubicBezTo>
                  <a:cubicBezTo>
                    <a:pt x="263" y="774"/>
                    <a:pt x="263" y="774"/>
                    <a:pt x="224" y="743"/>
                  </a:cubicBezTo>
                  <a:cubicBezTo>
                    <a:pt x="224" y="743"/>
                    <a:pt x="224" y="743"/>
                    <a:pt x="118" y="658"/>
                  </a:cubicBezTo>
                  <a:cubicBezTo>
                    <a:pt x="118" y="658"/>
                    <a:pt x="118" y="658"/>
                    <a:pt x="95" y="639"/>
                  </a:cubicBezTo>
                  <a:cubicBezTo>
                    <a:pt x="95" y="639"/>
                    <a:pt x="95" y="639"/>
                    <a:pt x="88" y="633"/>
                  </a:cubicBezTo>
                  <a:cubicBezTo>
                    <a:pt x="86" y="632"/>
                    <a:pt x="84" y="632"/>
                    <a:pt x="83" y="631"/>
                  </a:cubicBezTo>
                  <a:cubicBezTo>
                    <a:pt x="78" y="630"/>
                    <a:pt x="73" y="631"/>
                    <a:pt x="70" y="635"/>
                  </a:cubicBezTo>
                  <a:cubicBezTo>
                    <a:pt x="70" y="635"/>
                    <a:pt x="70" y="635"/>
                    <a:pt x="59" y="649"/>
                  </a:cubicBezTo>
                  <a:cubicBezTo>
                    <a:pt x="59" y="649"/>
                    <a:pt x="59" y="649"/>
                    <a:pt x="4" y="717"/>
                  </a:cubicBezTo>
                  <a:cubicBezTo>
                    <a:pt x="0" y="723"/>
                    <a:pt x="0" y="731"/>
                    <a:pt x="6" y="735"/>
                  </a:cubicBezTo>
                  <a:cubicBezTo>
                    <a:pt x="6" y="735"/>
                    <a:pt x="6" y="735"/>
                    <a:pt x="181" y="876"/>
                  </a:cubicBezTo>
                  <a:cubicBezTo>
                    <a:pt x="187" y="880"/>
                    <a:pt x="195" y="880"/>
                    <a:pt x="199" y="874"/>
                  </a:cubicBezTo>
                  <a:cubicBezTo>
                    <a:pt x="199" y="874"/>
                    <a:pt x="199" y="874"/>
                    <a:pt x="262" y="796"/>
                  </a:cubicBezTo>
                  <a:cubicBezTo>
                    <a:pt x="262" y="796"/>
                    <a:pt x="262" y="796"/>
                    <a:pt x="265" y="792"/>
                  </a:cubicBezTo>
                  <a:close/>
                  <a:moveTo>
                    <a:pt x="877" y="696"/>
                  </a:moveTo>
                  <a:cubicBezTo>
                    <a:pt x="881" y="691"/>
                    <a:pt x="881" y="683"/>
                    <a:pt x="875" y="678"/>
                  </a:cubicBezTo>
                  <a:cubicBezTo>
                    <a:pt x="875" y="678"/>
                    <a:pt x="875" y="678"/>
                    <a:pt x="797" y="615"/>
                  </a:cubicBezTo>
                  <a:cubicBezTo>
                    <a:pt x="797" y="615"/>
                    <a:pt x="797" y="615"/>
                    <a:pt x="793" y="612"/>
                  </a:cubicBezTo>
                  <a:cubicBezTo>
                    <a:pt x="787" y="608"/>
                    <a:pt x="779" y="609"/>
                    <a:pt x="775" y="614"/>
                  </a:cubicBezTo>
                  <a:cubicBezTo>
                    <a:pt x="775" y="614"/>
                    <a:pt x="775" y="614"/>
                    <a:pt x="745" y="653"/>
                  </a:cubicBezTo>
                  <a:cubicBezTo>
                    <a:pt x="745" y="653"/>
                    <a:pt x="745" y="653"/>
                    <a:pt x="659" y="758"/>
                  </a:cubicBezTo>
                  <a:cubicBezTo>
                    <a:pt x="659" y="758"/>
                    <a:pt x="659" y="758"/>
                    <a:pt x="640" y="782"/>
                  </a:cubicBezTo>
                  <a:cubicBezTo>
                    <a:pt x="640" y="782"/>
                    <a:pt x="640" y="782"/>
                    <a:pt x="634" y="790"/>
                  </a:cubicBezTo>
                  <a:cubicBezTo>
                    <a:pt x="633" y="791"/>
                    <a:pt x="632" y="793"/>
                    <a:pt x="632" y="794"/>
                  </a:cubicBezTo>
                  <a:cubicBezTo>
                    <a:pt x="632" y="794"/>
                    <a:pt x="632" y="794"/>
                    <a:pt x="632" y="795"/>
                  </a:cubicBezTo>
                  <a:cubicBezTo>
                    <a:pt x="630" y="799"/>
                    <a:pt x="632" y="805"/>
                    <a:pt x="636" y="808"/>
                  </a:cubicBezTo>
                  <a:cubicBezTo>
                    <a:pt x="636" y="808"/>
                    <a:pt x="636" y="808"/>
                    <a:pt x="649" y="818"/>
                  </a:cubicBezTo>
                  <a:cubicBezTo>
                    <a:pt x="649" y="818"/>
                    <a:pt x="649" y="818"/>
                    <a:pt x="718" y="874"/>
                  </a:cubicBezTo>
                  <a:cubicBezTo>
                    <a:pt x="724" y="878"/>
                    <a:pt x="731" y="877"/>
                    <a:pt x="736" y="872"/>
                  </a:cubicBezTo>
                  <a:cubicBezTo>
                    <a:pt x="736" y="872"/>
                    <a:pt x="736" y="872"/>
                    <a:pt x="877" y="69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
            <a:extLst>
              <a:ext uri="{FF2B5EF4-FFF2-40B4-BE49-F238E27FC236}">
                <a16:creationId xmlns:a16="http://schemas.microsoft.com/office/drawing/2014/main" id="{E1069906-3811-4516-AAF2-ACA4B59DE873}"/>
              </a:ext>
            </a:extLst>
          </p:cNvPr>
          <p:cNvGrpSpPr>
            <a:grpSpLocks noChangeAspect="1"/>
          </p:cNvGrpSpPr>
          <p:nvPr/>
        </p:nvGrpSpPr>
        <p:grpSpPr bwMode="auto">
          <a:xfrm>
            <a:off x="5626506" y="2687442"/>
            <a:ext cx="1025869" cy="1026860"/>
            <a:chOff x="2405" y="-226"/>
            <a:chExt cx="1036" cy="1037"/>
          </a:xfrm>
        </p:grpSpPr>
        <p:sp>
          <p:nvSpPr>
            <p:cNvPr id="28" name="AutoShape 3">
              <a:extLst>
                <a:ext uri="{FF2B5EF4-FFF2-40B4-BE49-F238E27FC236}">
                  <a16:creationId xmlns:a16="http://schemas.microsoft.com/office/drawing/2014/main" id="{5EFE8F00-FAAF-40F5-8EEB-170E4A9667EB}"/>
                </a:ext>
              </a:extLst>
            </p:cNvPr>
            <p:cNvSpPr>
              <a:spLocks noChangeAspect="1" noChangeArrowheads="1" noTextEdit="1"/>
            </p:cNvSpPr>
            <p:nvPr/>
          </p:nvSpPr>
          <p:spPr bwMode="auto">
            <a:xfrm>
              <a:off x="2405" y="-226"/>
              <a:ext cx="1036" cy="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5">
              <a:extLst>
                <a:ext uri="{FF2B5EF4-FFF2-40B4-BE49-F238E27FC236}">
                  <a16:creationId xmlns:a16="http://schemas.microsoft.com/office/drawing/2014/main" id="{7AD0B581-E9C8-4B82-BC54-1F1A958D2D21}"/>
                </a:ext>
              </a:extLst>
            </p:cNvPr>
            <p:cNvSpPr>
              <a:spLocks noEditPoints="1"/>
            </p:cNvSpPr>
            <p:nvPr/>
          </p:nvSpPr>
          <p:spPr bwMode="auto">
            <a:xfrm>
              <a:off x="2517" y="223"/>
              <a:ext cx="813" cy="432"/>
            </a:xfrm>
            <a:custGeom>
              <a:avLst/>
              <a:gdLst>
                <a:gd name="T0" fmla="*/ 1380 w 1806"/>
                <a:gd name="T1" fmla="*/ 0 h 961"/>
                <a:gd name="T2" fmla="*/ 1380 w 1806"/>
                <a:gd name="T3" fmla="*/ 3 h 961"/>
                <a:gd name="T4" fmla="*/ 1311 w 1806"/>
                <a:gd name="T5" fmla="*/ 112 h 961"/>
                <a:gd name="T6" fmla="*/ 1167 w 1806"/>
                <a:gd name="T7" fmla="*/ 414 h 961"/>
                <a:gd name="T8" fmla="*/ 1167 w 1806"/>
                <a:gd name="T9" fmla="*/ 514 h 961"/>
                <a:gd name="T10" fmla="*/ 1123 w 1806"/>
                <a:gd name="T11" fmla="*/ 550 h 961"/>
                <a:gd name="T12" fmla="*/ 1123 w 1806"/>
                <a:gd name="T13" fmla="*/ 451 h 961"/>
                <a:gd name="T14" fmla="*/ 903 w 1806"/>
                <a:gd name="T15" fmla="*/ 548 h 961"/>
                <a:gd name="T16" fmla="*/ 683 w 1806"/>
                <a:gd name="T17" fmla="*/ 451 h 961"/>
                <a:gd name="T18" fmla="*/ 683 w 1806"/>
                <a:gd name="T19" fmla="*/ 550 h 961"/>
                <a:gd name="T20" fmla="*/ 639 w 1806"/>
                <a:gd name="T21" fmla="*/ 514 h 961"/>
                <a:gd name="T22" fmla="*/ 639 w 1806"/>
                <a:gd name="T23" fmla="*/ 414 h 961"/>
                <a:gd name="T24" fmla="*/ 495 w 1806"/>
                <a:gd name="T25" fmla="*/ 112 h 961"/>
                <a:gd name="T26" fmla="*/ 426 w 1806"/>
                <a:gd name="T27" fmla="*/ 5 h 961"/>
                <a:gd name="T28" fmla="*/ 426 w 1806"/>
                <a:gd name="T29" fmla="*/ 0 h 961"/>
                <a:gd name="T30" fmla="*/ 477 w 1806"/>
                <a:gd name="T31" fmla="*/ 24 h 961"/>
                <a:gd name="T32" fmla="*/ 523 w 1806"/>
                <a:gd name="T33" fmla="*/ 77 h 961"/>
                <a:gd name="T34" fmla="*/ 533 w 1806"/>
                <a:gd name="T35" fmla="*/ 89 h 961"/>
                <a:gd name="T36" fmla="*/ 677 w 1806"/>
                <a:gd name="T37" fmla="*/ 391 h 961"/>
                <a:gd name="T38" fmla="*/ 903 w 1806"/>
                <a:gd name="T39" fmla="*/ 504 h 961"/>
                <a:gd name="T40" fmla="*/ 1129 w 1806"/>
                <a:gd name="T41" fmla="*/ 391 h 961"/>
                <a:gd name="T42" fmla="*/ 1273 w 1806"/>
                <a:gd name="T43" fmla="*/ 89 h 961"/>
                <a:gd name="T44" fmla="*/ 1283 w 1806"/>
                <a:gd name="T45" fmla="*/ 77 h 961"/>
                <a:gd name="T46" fmla="*/ 1329 w 1806"/>
                <a:gd name="T47" fmla="*/ 24 h 961"/>
                <a:gd name="T48" fmla="*/ 1380 w 1806"/>
                <a:gd name="T49" fmla="*/ 0 h 961"/>
                <a:gd name="T50" fmla="*/ 1780 w 1806"/>
                <a:gd name="T51" fmla="*/ 961 h 961"/>
                <a:gd name="T52" fmla="*/ 1801 w 1806"/>
                <a:gd name="T53" fmla="*/ 931 h 961"/>
                <a:gd name="T54" fmla="*/ 1583 w 1806"/>
                <a:gd name="T55" fmla="*/ 614 h 961"/>
                <a:gd name="T56" fmla="*/ 1195 w 1806"/>
                <a:gd name="T57" fmla="*/ 548 h 961"/>
                <a:gd name="T58" fmla="*/ 1195 w 1806"/>
                <a:gd name="T59" fmla="*/ 548 h 961"/>
                <a:gd name="T60" fmla="*/ 1327 w 1806"/>
                <a:gd name="T61" fmla="*/ 696 h 961"/>
                <a:gd name="T62" fmla="*/ 1145 w 1806"/>
                <a:gd name="T63" fmla="*/ 696 h 961"/>
                <a:gd name="T64" fmla="*/ 973 w 1806"/>
                <a:gd name="T65" fmla="*/ 961 h 961"/>
                <a:gd name="T66" fmla="*/ 833 w 1806"/>
                <a:gd name="T67" fmla="*/ 961 h 961"/>
                <a:gd name="T68" fmla="*/ 661 w 1806"/>
                <a:gd name="T69" fmla="*/ 696 h 961"/>
                <a:gd name="T70" fmla="*/ 479 w 1806"/>
                <a:gd name="T71" fmla="*/ 696 h 961"/>
                <a:gd name="T72" fmla="*/ 611 w 1806"/>
                <a:gd name="T73" fmla="*/ 548 h 961"/>
                <a:gd name="T74" fmla="*/ 611 w 1806"/>
                <a:gd name="T75" fmla="*/ 548 h 961"/>
                <a:gd name="T76" fmla="*/ 223 w 1806"/>
                <a:gd name="T77" fmla="*/ 614 h 961"/>
                <a:gd name="T78" fmla="*/ 5 w 1806"/>
                <a:gd name="T79" fmla="*/ 931 h 961"/>
                <a:gd name="T80" fmla="*/ 26 w 1806"/>
                <a:gd name="T81" fmla="*/ 96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06" h="961">
                  <a:moveTo>
                    <a:pt x="1380" y="0"/>
                  </a:moveTo>
                  <a:cubicBezTo>
                    <a:pt x="1380" y="1"/>
                    <a:pt x="1380" y="2"/>
                    <a:pt x="1380" y="3"/>
                  </a:cubicBezTo>
                  <a:cubicBezTo>
                    <a:pt x="1377" y="26"/>
                    <a:pt x="1363" y="82"/>
                    <a:pt x="1311" y="112"/>
                  </a:cubicBezTo>
                  <a:cubicBezTo>
                    <a:pt x="1289" y="168"/>
                    <a:pt x="1212" y="358"/>
                    <a:pt x="1167" y="414"/>
                  </a:cubicBezTo>
                  <a:cubicBezTo>
                    <a:pt x="1167" y="514"/>
                    <a:pt x="1167" y="514"/>
                    <a:pt x="1167" y="514"/>
                  </a:cubicBezTo>
                  <a:cubicBezTo>
                    <a:pt x="1164" y="516"/>
                    <a:pt x="1148" y="530"/>
                    <a:pt x="1123" y="550"/>
                  </a:cubicBezTo>
                  <a:cubicBezTo>
                    <a:pt x="1123" y="451"/>
                    <a:pt x="1123" y="451"/>
                    <a:pt x="1123" y="451"/>
                  </a:cubicBezTo>
                  <a:cubicBezTo>
                    <a:pt x="1064" y="494"/>
                    <a:pt x="968" y="548"/>
                    <a:pt x="903" y="548"/>
                  </a:cubicBezTo>
                  <a:cubicBezTo>
                    <a:pt x="838" y="548"/>
                    <a:pt x="742" y="494"/>
                    <a:pt x="683" y="451"/>
                  </a:cubicBezTo>
                  <a:cubicBezTo>
                    <a:pt x="683" y="550"/>
                    <a:pt x="683" y="550"/>
                    <a:pt x="683" y="550"/>
                  </a:cubicBezTo>
                  <a:cubicBezTo>
                    <a:pt x="659" y="530"/>
                    <a:pt x="642" y="516"/>
                    <a:pt x="639" y="514"/>
                  </a:cubicBezTo>
                  <a:cubicBezTo>
                    <a:pt x="639" y="414"/>
                    <a:pt x="639" y="414"/>
                    <a:pt x="639" y="414"/>
                  </a:cubicBezTo>
                  <a:cubicBezTo>
                    <a:pt x="594" y="359"/>
                    <a:pt x="517" y="168"/>
                    <a:pt x="495" y="112"/>
                  </a:cubicBezTo>
                  <a:cubicBezTo>
                    <a:pt x="446" y="83"/>
                    <a:pt x="431" y="33"/>
                    <a:pt x="426" y="5"/>
                  </a:cubicBezTo>
                  <a:cubicBezTo>
                    <a:pt x="426" y="4"/>
                    <a:pt x="426" y="2"/>
                    <a:pt x="426" y="0"/>
                  </a:cubicBezTo>
                  <a:cubicBezTo>
                    <a:pt x="477" y="24"/>
                    <a:pt x="477" y="24"/>
                    <a:pt x="477" y="24"/>
                  </a:cubicBezTo>
                  <a:cubicBezTo>
                    <a:pt x="484" y="43"/>
                    <a:pt x="498" y="65"/>
                    <a:pt x="523" y="77"/>
                  </a:cubicBezTo>
                  <a:cubicBezTo>
                    <a:pt x="528" y="80"/>
                    <a:pt x="532" y="84"/>
                    <a:pt x="533" y="89"/>
                  </a:cubicBezTo>
                  <a:cubicBezTo>
                    <a:pt x="574" y="192"/>
                    <a:pt x="649" y="365"/>
                    <a:pt x="677" y="391"/>
                  </a:cubicBezTo>
                  <a:cubicBezTo>
                    <a:pt x="722" y="430"/>
                    <a:pt x="838" y="504"/>
                    <a:pt x="903" y="504"/>
                  </a:cubicBezTo>
                  <a:cubicBezTo>
                    <a:pt x="968" y="504"/>
                    <a:pt x="1084" y="430"/>
                    <a:pt x="1129" y="391"/>
                  </a:cubicBezTo>
                  <a:cubicBezTo>
                    <a:pt x="1157" y="365"/>
                    <a:pt x="1232" y="192"/>
                    <a:pt x="1273" y="89"/>
                  </a:cubicBezTo>
                  <a:cubicBezTo>
                    <a:pt x="1274" y="84"/>
                    <a:pt x="1278" y="80"/>
                    <a:pt x="1283" y="77"/>
                  </a:cubicBezTo>
                  <a:cubicBezTo>
                    <a:pt x="1308" y="65"/>
                    <a:pt x="1322" y="43"/>
                    <a:pt x="1329" y="24"/>
                  </a:cubicBezTo>
                  <a:lnTo>
                    <a:pt x="1380" y="0"/>
                  </a:lnTo>
                  <a:close/>
                  <a:moveTo>
                    <a:pt x="1780" y="961"/>
                  </a:moveTo>
                  <a:cubicBezTo>
                    <a:pt x="1796" y="961"/>
                    <a:pt x="1806" y="945"/>
                    <a:pt x="1801" y="931"/>
                  </a:cubicBezTo>
                  <a:cubicBezTo>
                    <a:pt x="1773" y="857"/>
                    <a:pt x="1693" y="664"/>
                    <a:pt x="1583" y="614"/>
                  </a:cubicBezTo>
                  <a:cubicBezTo>
                    <a:pt x="1447" y="551"/>
                    <a:pt x="1195" y="548"/>
                    <a:pt x="1195" y="548"/>
                  </a:cubicBezTo>
                  <a:cubicBezTo>
                    <a:pt x="1195" y="548"/>
                    <a:pt x="1195" y="548"/>
                    <a:pt x="1195" y="548"/>
                  </a:cubicBezTo>
                  <a:cubicBezTo>
                    <a:pt x="1327" y="696"/>
                    <a:pt x="1327" y="696"/>
                    <a:pt x="1327" y="696"/>
                  </a:cubicBezTo>
                  <a:cubicBezTo>
                    <a:pt x="1145" y="696"/>
                    <a:pt x="1145" y="696"/>
                    <a:pt x="1145" y="696"/>
                  </a:cubicBezTo>
                  <a:cubicBezTo>
                    <a:pt x="973" y="961"/>
                    <a:pt x="973" y="961"/>
                    <a:pt x="973" y="961"/>
                  </a:cubicBezTo>
                  <a:moveTo>
                    <a:pt x="833" y="961"/>
                  </a:moveTo>
                  <a:cubicBezTo>
                    <a:pt x="661" y="696"/>
                    <a:pt x="661" y="696"/>
                    <a:pt x="661" y="696"/>
                  </a:cubicBezTo>
                  <a:cubicBezTo>
                    <a:pt x="479" y="696"/>
                    <a:pt x="479" y="696"/>
                    <a:pt x="479" y="696"/>
                  </a:cubicBezTo>
                  <a:cubicBezTo>
                    <a:pt x="611" y="548"/>
                    <a:pt x="611" y="548"/>
                    <a:pt x="611" y="548"/>
                  </a:cubicBezTo>
                  <a:cubicBezTo>
                    <a:pt x="611" y="548"/>
                    <a:pt x="611" y="548"/>
                    <a:pt x="611" y="548"/>
                  </a:cubicBezTo>
                  <a:cubicBezTo>
                    <a:pt x="611" y="548"/>
                    <a:pt x="359" y="551"/>
                    <a:pt x="223" y="614"/>
                  </a:cubicBezTo>
                  <a:cubicBezTo>
                    <a:pt x="113" y="664"/>
                    <a:pt x="33" y="857"/>
                    <a:pt x="5" y="931"/>
                  </a:cubicBezTo>
                  <a:cubicBezTo>
                    <a:pt x="0" y="945"/>
                    <a:pt x="10" y="961"/>
                    <a:pt x="26" y="961"/>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6">
              <a:extLst>
                <a:ext uri="{FF2B5EF4-FFF2-40B4-BE49-F238E27FC236}">
                  <a16:creationId xmlns:a16="http://schemas.microsoft.com/office/drawing/2014/main" id="{BBD882FD-5B59-490F-82C5-A409CDCD4600}"/>
                </a:ext>
              </a:extLst>
            </p:cNvPr>
            <p:cNvSpPr>
              <a:spLocks noEditPoints="1"/>
            </p:cNvSpPr>
            <p:nvPr/>
          </p:nvSpPr>
          <p:spPr bwMode="auto">
            <a:xfrm>
              <a:off x="2681" y="-101"/>
              <a:ext cx="485" cy="756"/>
            </a:xfrm>
            <a:custGeom>
              <a:avLst/>
              <a:gdLst>
                <a:gd name="T0" fmla="*/ 997 w 1080"/>
                <a:gd name="T1" fmla="*/ 644 h 1681"/>
                <a:gd name="T2" fmla="*/ 997 w 1080"/>
                <a:gd name="T3" fmla="*/ 643 h 1681"/>
                <a:gd name="T4" fmla="*/ 945 w 1080"/>
                <a:gd name="T5" fmla="*/ 716 h 1681"/>
                <a:gd name="T6" fmla="*/ 940 w 1080"/>
                <a:gd name="T7" fmla="*/ 718 h 1681"/>
                <a:gd name="T8" fmla="*/ 910 w 1080"/>
                <a:gd name="T9" fmla="*/ 718 h 1681"/>
                <a:gd name="T10" fmla="*/ 907 w 1080"/>
                <a:gd name="T11" fmla="*/ 717 h 1681"/>
                <a:gd name="T12" fmla="*/ 283 w 1080"/>
                <a:gd name="T13" fmla="*/ 387 h 1681"/>
                <a:gd name="T14" fmla="*/ 277 w 1080"/>
                <a:gd name="T15" fmla="*/ 386 h 1681"/>
                <a:gd name="T16" fmla="*/ 92 w 1080"/>
                <a:gd name="T17" fmla="*/ 678 h 1681"/>
                <a:gd name="T18" fmla="*/ 92 w 1080"/>
                <a:gd name="T19" fmla="*/ 677 h 1681"/>
                <a:gd name="T20" fmla="*/ 66 w 1080"/>
                <a:gd name="T21" fmla="*/ 481 h 1681"/>
                <a:gd name="T22" fmla="*/ 540 w 1080"/>
                <a:gd name="T23" fmla="*/ 0 h 1681"/>
                <a:gd name="T24" fmla="*/ 1014 w 1080"/>
                <a:gd name="T25" fmla="*/ 481 h 1681"/>
                <a:gd name="T26" fmla="*/ 997 w 1080"/>
                <a:gd name="T27" fmla="*/ 644 h 1681"/>
                <a:gd name="T28" fmla="*/ 546 w 1080"/>
                <a:gd name="T29" fmla="*/ 1501 h 1681"/>
                <a:gd name="T30" fmla="*/ 534 w 1080"/>
                <a:gd name="T31" fmla="*/ 1502 h 1681"/>
                <a:gd name="T32" fmla="*/ 381 w 1080"/>
                <a:gd name="T33" fmla="*/ 1377 h 1681"/>
                <a:gd name="T34" fmla="*/ 511 w 1080"/>
                <a:gd name="T35" fmla="*/ 1681 h 1681"/>
                <a:gd name="T36" fmla="*/ 540 w 1080"/>
                <a:gd name="T37" fmla="*/ 1681 h 1681"/>
                <a:gd name="T38" fmla="*/ 540 w 1080"/>
                <a:gd name="T39" fmla="*/ 1681 h 1681"/>
                <a:gd name="T40" fmla="*/ 570 w 1080"/>
                <a:gd name="T41" fmla="*/ 1681 h 1681"/>
                <a:gd name="T42" fmla="*/ 700 w 1080"/>
                <a:gd name="T43" fmla="*/ 1377 h 1681"/>
                <a:gd name="T44" fmla="*/ 546 w 1080"/>
                <a:gd name="T45" fmla="*/ 1501 h 1681"/>
                <a:gd name="T46" fmla="*/ 232 w 1080"/>
                <a:gd name="T47" fmla="*/ 1149 h 1681"/>
                <a:gd name="T48" fmla="*/ 148 w 1080"/>
                <a:gd name="T49" fmla="*/ 984 h 1681"/>
                <a:gd name="T50" fmla="*/ 114 w 1080"/>
                <a:gd name="T51" fmla="*/ 905 h 1681"/>
                <a:gd name="T52" fmla="*/ 0 w 1080"/>
                <a:gd name="T53" fmla="*/ 1153 h 1681"/>
                <a:gd name="T54" fmla="*/ 121 w 1080"/>
                <a:gd name="T55" fmla="*/ 1231 h 1681"/>
                <a:gd name="T56" fmla="*/ 232 w 1080"/>
                <a:gd name="T57" fmla="*/ 1224 h 1681"/>
                <a:gd name="T58" fmla="*/ 232 w 1080"/>
                <a:gd name="T59" fmla="*/ 1149 h 1681"/>
                <a:gd name="T60" fmla="*/ 965 w 1080"/>
                <a:gd name="T61" fmla="*/ 907 h 1681"/>
                <a:gd name="T62" fmla="*/ 932 w 1080"/>
                <a:gd name="T63" fmla="*/ 984 h 1681"/>
                <a:gd name="T64" fmla="*/ 848 w 1080"/>
                <a:gd name="T65" fmla="*/ 1149 h 1681"/>
                <a:gd name="T66" fmla="*/ 848 w 1080"/>
                <a:gd name="T67" fmla="*/ 1224 h 1681"/>
                <a:gd name="T68" fmla="*/ 959 w 1080"/>
                <a:gd name="T69" fmla="*/ 1231 h 1681"/>
                <a:gd name="T70" fmla="*/ 1080 w 1080"/>
                <a:gd name="T71" fmla="*/ 1153 h 1681"/>
                <a:gd name="T72" fmla="*/ 965 w 1080"/>
                <a:gd name="T73" fmla="*/ 90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0" h="1681">
                  <a:moveTo>
                    <a:pt x="997" y="644"/>
                  </a:moveTo>
                  <a:cubicBezTo>
                    <a:pt x="997" y="643"/>
                    <a:pt x="997" y="643"/>
                    <a:pt x="997" y="643"/>
                  </a:cubicBezTo>
                  <a:cubicBezTo>
                    <a:pt x="996" y="644"/>
                    <a:pt x="988" y="667"/>
                    <a:pt x="945" y="716"/>
                  </a:cubicBezTo>
                  <a:cubicBezTo>
                    <a:pt x="944" y="717"/>
                    <a:pt x="942" y="718"/>
                    <a:pt x="940" y="718"/>
                  </a:cubicBezTo>
                  <a:cubicBezTo>
                    <a:pt x="910" y="718"/>
                    <a:pt x="910" y="718"/>
                    <a:pt x="910" y="718"/>
                  </a:cubicBezTo>
                  <a:cubicBezTo>
                    <a:pt x="909" y="718"/>
                    <a:pt x="908" y="718"/>
                    <a:pt x="907" y="717"/>
                  </a:cubicBezTo>
                  <a:cubicBezTo>
                    <a:pt x="283" y="387"/>
                    <a:pt x="283" y="387"/>
                    <a:pt x="283" y="387"/>
                  </a:cubicBezTo>
                  <a:cubicBezTo>
                    <a:pt x="281" y="386"/>
                    <a:pt x="279" y="386"/>
                    <a:pt x="277" y="386"/>
                  </a:cubicBezTo>
                  <a:cubicBezTo>
                    <a:pt x="138" y="432"/>
                    <a:pt x="139" y="720"/>
                    <a:pt x="92" y="678"/>
                  </a:cubicBezTo>
                  <a:cubicBezTo>
                    <a:pt x="92" y="678"/>
                    <a:pt x="92" y="678"/>
                    <a:pt x="92" y="677"/>
                  </a:cubicBezTo>
                  <a:cubicBezTo>
                    <a:pt x="73" y="625"/>
                    <a:pt x="66" y="540"/>
                    <a:pt x="66" y="481"/>
                  </a:cubicBezTo>
                  <a:cubicBezTo>
                    <a:pt x="66" y="215"/>
                    <a:pt x="272" y="0"/>
                    <a:pt x="540" y="0"/>
                  </a:cubicBezTo>
                  <a:cubicBezTo>
                    <a:pt x="808" y="0"/>
                    <a:pt x="1014" y="215"/>
                    <a:pt x="1014" y="481"/>
                  </a:cubicBezTo>
                  <a:cubicBezTo>
                    <a:pt x="1014" y="538"/>
                    <a:pt x="1015" y="593"/>
                    <a:pt x="997" y="644"/>
                  </a:cubicBezTo>
                  <a:close/>
                  <a:moveTo>
                    <a:pt x="546" y="1501"/>
                  </a:moveTo>
                  <a:cubicBezTo>
                    <a:pt x="543" y="1504"/>
                    <a:pt x="538" y="1504"/>
                    <a:pt x="534" y="1502"/>
                  </a:cubicBezTo>
                  <a:cubicBezTo>
                    <a:pt x="494" y="1470"/>
                    <a:pt x="435" y="1422"/>
                    <a:pt x="381" y="1377"/>
                  </a:cubicBezTo>
                  <a:cubicBezTo>
                    <a:pt x="511" y="1681"/>
                    <a:pt x="511" y="1681"/>
                    <a:pt x="511" y="1681"/>
                  </a:cubicBezTo>
                  <a:cubicBezTo>
                    <a:pt x="540" y="1681"/>
                    <a:pt x="540" y="1681"/>
                    <a:pt x="540" y="1681"/>
                  </a:cubicBezTo>
                  <a:cubicBezTo>
                    <a:pt x="540" y="1681"/>
                    <a:pt x="540" y="1681"/>
                    <a:pt x="540" y="1681"/>
                  </a:cubicBezTo>
                  <a:cubicBezTo>
                    <a:pt x="570" y="1681"/>
                    <a:pt x="570" y="1681"/>
                    <a:pt x="570" y="1681"/>
                  </a:cubicBezTo>
                  <a:cubicBezTo>
                    <a:pt x="700" y="1377"/>
                    <a:pt x="700" y="1377"/>
                    <a:pt x="700" y="1377"/>
                  </a:cubicBezTo>
                  <a:cubicBezTo>
                    <a:pt x="651" y="1417"/>
                    <a:pt x="596" y="1462"/>
                    <a:pt x="546" y="1501"/>
                  </a:cubicBezTo>
                  <a:close/>
                  <a:moveTo>
                    <a:pt x="232" y="1149"/>
                  </a:moveTo>
                  <a:cubicBezTo>
                    <a:pt x="214" y="1123"/>
                    <a:pt x="188" y="1076"/>
                    <a:pt x="148" y="984"/>
                  </a:cubicBezTo>
                  <a:cubicBezTo>
                    <a:pt x="136" y="956"/>
                    <a:pt x="124" y="928"/>
                    <a:pt x="114" y="905"/>
                  </a:cubicBezTo>
                  <a:cubicBezTo>
                    <a:pt x="110" y="995"/>
                    <a:pt x="103" y="1143"/>
                    <a:pt x="0" y="1153"/>
                  </a:cubicBezTo>
                  <a:cubicBezTo>
                    <a:pt x="43" y="1196"/>
                    <a:pt x="85" y="1219"/>
                    <a:pt x="121" y="1231"/>
                  </a:cubicBezTo>
                  <a:cubicBezTo>
                    <a:pt x="171" y="1226"/>
                    <a:pt x="211" y="1225"/>
                    <a:pt x="232" y="1224"/>
                  </a:cubicBezTo>
                  <a:lnTo>
                    <a:pt x="232" y="1149"/>
                  </a:lnTo>
                  <a:close/>
                  <a:moveTo>
                    <a:pt x="965" y="907"/>
                  </a:moveTo>
                  <a:cubicBezTo>
                    <a:pt x="955" y="930"/>
                    <a:pt x="944" y="957"/>
                    <a:pt x="932" y="984"/>
                  </a:cubicBezTo>
                  <a:cubicBezTo>
                    <a:pt x="892" y="1076"/>
                    <a:pt x="866" y="1123"/>
                    <a:pt x="848" y="1149"/>
                  </a:cubicBezTo>
                  <a:cubicBezTo>
                    <a:pt x="848" y="1224"/>
                    <a:pt x="848" y="1224"/>
                    <a:pt x="848" y="1224"/>
                  </a:cubicBezTo>
                  <a:cubicBezTo>
                    <a:pt x="869" y="1225"/>
                    <a:pt x="910" y="1226"/>
                    <a:pt x="959" y="1231"/>
                  </a:cubicBezTo>
                  <a:cubicBezTo>
                    <a:pt x="996" y="1219"/>
                    <a:pt x="1037" y="1196"/>
                    <a:pt x="1080" y="1153"/>
                  </a:cubicBezTo>
                  <a:cubicBezTo>
                    <a:pt x="978" y="1143"/>
                    <a:pt x="969" y="997"/>
                    <a:pt x="965" y="9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1" name="Group 30">
            <a:extLst>
              <a:ext uri="{FF2B5EF4-FFF2-40B4-BE49-F238E27FC236}">
                <a16:creationId xmlns:a16="http://schemas.microsoft.com/office/drawing/2014/main" id="{73297B13-8D9F-4B8C-B97C-403FB4F22DB6}"/>
              </a:ext>
            </a:extLst>
          </p:cNvPr>
          <p:cNvGrpSpPr>
            <a:grpSpLocks noChangeAspect="1"/>
          </p:cNvGrpSpPr>
          <p:nvPr/>
        </p:nvGrpSpPr>
        <p:grpSpPr>
          <a:xfrm>
            <a:off x="3583053" y="2687442"/>
            <a:ext cx="1026860" cy="1026860"/>
            <a:chOff x="5273675" y="2606675"/>
            <a:chExt cx="1644650" cy="1644650"/>
          </a:xfrm>
        </p:grpSpPr>
        <p:sp>
          <p:nvSpPr>
            <p:cNvPr id="32" name="AutoShape 3">
              <a:extLst>
                <a:ext uri="{FF2B5EF4-FFF2-40B4-BE49-F238E27FC236}">
                  <a16:creationId xmlns:a16="http://schemas.microsoft.com/office/drawing/2014/main" id="{FE63FA9C-6ED5-4DC9-A5B4-F9EE368A27D4}"/>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3" name="Group 32">
              <a:extLst>
                <a:ext uri="{FF2B5EF4-FFF2-40B4-BE49-F238E27FC236}">
                  <a16:creationId xmlns:a16="http://schemas.microsoft.com/office/drawing/2014/main" id="{CD37F359-CFBC-4D63-B9A0-5F85169BCC10}"/>
                </a:ext>
              </a:extLst>
            </p:cNvPr>
            <p:cNvGrpSpPr/>
            <p:nvPr/>
          </p:nvGrpSpPr>
          <p:grpSpPr>
            <a:xfrm>
              <a:off x="5332413" y="3094038"/>
              <a:ext cx="1533525" cy="614362"/>
              <a:chOff x="5332413" y="3094038"/>
              <a:chExt cx="1533525" cy="614362"/>
            </a:xfrm>
          </p:grpSpPr>
          <p:sp>
            <p:nvSpPr>
              <p:cNvPr id="34" name="Freeform 10">
                <a:extLst>
                  <a:ext uri="{FF2B5EF4-FFF2-40B4-BE49-F238E27FC236}">
                    <a16:creationId xmlns:a16="http://schemas.microsoft.com/office/drawing/2014/main" id="{D0EB1DB7-FF65-4E09-A6E8-6F3C0DA4A472}"/>
                  </a:ext>
                </a:extLst>
              </p:cNvPr>
              <p:cNvSpPr>
                <a:spLocks/>
              </p:cNvSpPr>
              <p:nvPr/>
            </p:nvSpPr>
            <p:spPr bwMode="auto">
              <a:xfrm>
                <a:off x="5332413" y="3094038"/>
                <a:ext cx="1533525" cy="542925"/>
              </a:xfrm>
              <a:custGeom>
                <a:avLst/>
                <a:gdLst>
                  <a:gd name="connsiteX0" fmla="*/ 1246187 w 1533525"/>
                  <a:gd name="connsiteY0" fmla="*/ 511175 h 542925"/>
                  <a:gd name="connsiteX1" fmla="*/ 1517878 w 1533525"/>
                  <a:gd name="connsiteY1" fmla="*/ 511175 h 542925"/>
                  <a:gd name="connsiteX2" fmla="*/ 1533525 w 1533525"/>
                  <a:gd name="connsiteY2" fmla="*/ 527050 h 542925"/>
                  <a:gd name="connsiteX3" fmla="*/ 1517878 w 1533525"/>
                  <a:gd name="connsiteY3" fmla="*/ 542925 h 542925"/>
                  <a:gd name="connsiteX4" fmla="*/ 1255433 w 1533525"/>
                  <a:gd name="connsiteY4" fmla="*/ 542925 h 542925"/>
                  <a:gd name="connsiteX5" fmla="*/ 1246187 w 1533525"/>
                  <a:gd name="connsiteY5" fmla="*/ 511175 h 542925"/>
                  <a:gd name="connsiteX6" fmla="*/ 735012 w 1533525"/>
                  <a:gd name="connsiteY6" fmla="*/ 511175 h 542925"/>
                  <a:gd name="connsiteX7" fmla="*/ 792162 w 1533525"/>
                  <a:gd name="connsiteY7" fmla="*/ 511175 h 542925"/>
                  <a:gd name="connsiteX8" fmla="*/ 783101 w 1533525"/>
                  <a:gd name="connsiteY8" fmla="*/ 542925 h 542925"/>
                  <a:gd name="connsiteX9" fmla="*/ 744072 w 1533525"/>
                  <a:gd name="connsiteY9" fmla="*/ 542925 h 542925"/>
                  <a:gd name="connsiteX10" fmla="*/ 735012 w 1533525"/>
                  <a:gd name="connsiteY10" fmla="*/ 511175 h 542925"/>
                  <a:gd name="connsiteX11" fmla="*/ 15650 w 1533525"/>
                  <a:gd name="connsiteY11" fmla="*/ 511175 h 542925"/>
                  <a:gd name="connsiteX12" fmla="*/ 280988 w 1533525"/>
                  <a:gd name="connsiteY12" fmla="*/ 511175 h 542925"/>
                  <a:gd name="connsiteX13" fmla="*/ 271740 w 1533525"/>
                  <a:gd name="connsiteY13" fmla="*/ 542925 h 542925"/>
                  <a:gd name="connsiteX14" fmla="*/ 15650 w 1533525"/>
                  <a:gd name="connsiteY14" fmla="*/ 542925 h 542925"/>
                  <a:gd name="connsiteX15" fmla="*/ 0 w 1533525"/>
                  <a:gd name="connsiteY15" fmla="*/ 527050 h 542925"/>
                  <a:gd name="connsiteX16" fmla="*/ 15650 w 1533525"/>
                  <a:gd name="connsiteY16" fmla="*/ 511175 h 542925"/>
                  <a:gd name="connsiteX17" fmla="*/ 764317 w 1533525"/>
                  <a:gd name="connsiteY17" fmla="*/ 349250 h 542925"/>
                  <a:gd name="connsiteX18" fmla="*/ 778175 w 1533525"/>
                  <a:gd name="connsiteY18" fmla="*/ 350679 h 542925"/>
                  <a:gd name="connsiteX19" fmla="*/ 788387 w 1533525"/>
                  <a:gd name="connsiteY19" fmla="*/ 352822 h 542925"/>
                  <a:gd name="connsiteX20" fmla="*/ 789845 w 1533525"/>
                  <a:gd name="connsiteY20" fmla="*/ 355680 h 542925"/>
                  <a:gd name="connsiteX21" fmla="*/ 773799 w 1533525"/>
                  <a:gd name="connsiteY21" fmla="*/ 380683 h 542925"/>
                  <a:gd name="connsiteX22" fmla="*/ 773799 w 1533525"/>
                  <a:gd name="connsiteY22" fmla="*/ 382826 h 542925"/>
                  <a:gd name="connsiteX23" fmla="*/ 789116 w 1533525"/>
                  <a:gd name="connsiteY23" fmla="*/ 477838 h 542925"/>
                  <a:gd name="connsiteX24" fmla="*/ 736600 w 1533525"/>
                  <a:gd name="connsiteY24" fmla="*/ 477838 h 542925"/>
                  <a:gd name="connsiteX25" fmla="*/ 753376 w 1533525"/>
                  <a:gd name="connsiteY25" fmla="*/ 382826 h 542925"/>
                  <a:gd name="connsiteX26" fmla="*/ 753376 w 1533525"/>
                  <a:gd name="connsiteY26" fmla="*/ 380683 h 542925"/>
                  <a:gd name="connsiteX27" fmla="*/ 737329 w 1533525"/>
                  <a:gd name="connsiteY27" fmla="*/ 355680 h 542925"/>
                  <a:gd name="connsiteX28" fmla="*/ 738788 w 1533525"/>
                  <a:gd name="connsiteY28" fmla="*/ 352822 h 542925"/>
                  <a:gd name="connsiteX29" fmla="*/ 749729 w 1533525"/>
                  <a:gd name="connsiteY29" fmla="*/ 350679 h 542925"/>
                  <a:gd name="connsiteX30" fmla="*/ 764317 w 1533525"/>
                  <a:gd name="connsiteY30" fmla="*/ 349250 h 542925"/>
                  <a:gd name="connsiteX31" fmla="*/ 1200963 w 1533525"/>
                  <a:gd name="connsiteY31" fmla="*/ 334962 h 542925"/>
                  <a:gd name="connsiteX32" fmla="*/ 1203105 w 1533525"/>
                  <a:gd name="connsiteY32" fmla="*/ 337095 h 542925"/>
                  <a:gd name="connsiteX33" fmla="*/ 1268787 w 1533525"/>
                  <a:gd name="connsiteY33" fmla="*/ 409598 h 542925"/>
                  <a:gd name="connsiteX34" fmla="*/ 1280210 w 1533525"/>
                  <a:gd name="connsiteY34" fmla="*/ 409598 h 542925"/>
                  <a:gd name="connsiteX35" fmla="*/ 1345893 w 1533525"/>
                  <a:gd name="connsiteY35" fmla="*/ 337095 h 542925"/>
                  <a:gd name="connsiteX36" fmla="*/ 1348034 w 1533525"/>
                  <a:gd name="connsiteY36" fmla="*/ 334962 h 542925"/>
                  <a:gd name="connsiteX37" fmla="*/ 1441561 w 1533525"/>
                  <a:gd name="connsiteY37" fmla="*/ 351311 h 542925"/>
                  <a:gd name="connsiteX38" fmla="*/ 1492250 w 1533525"/>
                  <a:gd name="connsiteY38" fmla="*/ 477837 h 542925"/>
                  <a:gd name="connsiteX39" fmla="*/ 1232376 w 1533525"/>
                  <a:gd name="connsiteY39" fmla="*/ 477837 h 542925"/>
                  <a:gd name="connsiteX40" fmla="*/ 1198821 w 1533525"/>
                  <a:gd name="connsiteY40" fmla="*/ 440164 h 542925"/>
                  <a:gd name="connsiteX41" fmla="*/ 1101725 w 1533525"/>
                  <a:gd name="connsiteY41" fmla="*/ 421682 h 542925"/>
                  <a:gd name="connsiteX42" fmla="*/ 1111720 w 1533525"/>
                  <a:gd name="connsiteY42" fmla="*/ 409598 h 542925"/>
                  <a:gd name="connsiteX43" fmla="*/ 1112434 w 1533525"/>
                  <a:gd name="connsiteY43" fmla="*/ 408177 h 542925"/>
                  <a:gd name="connsiteX44" fmla="*/ 1118859 w 1533525"/>
                  <a:gd name="connsiteY44" fmla="*/ 394671 h 542925"/>
                  <a:gd name="connsiteX45" fmla="*/ 1120287 w 1533525"/>
                  <a:gd name="connsiteY45" fmla="*/ 390406 h 542925"/>
                  <a:gd name="connsiteX46" fmla="*/ 1155271 w 1533525"/>
                  <a:gd name="connsiteY46" fmla="*/ 338516 h 542925"/>
                  <a:gd name="connsiteX47" fmla="*/ 1200963 w 1533525"/>
                  <a:gd name="connsiteY47" fmla="*/ 334962 h 542925"/>
                  <a:gd name="connsiteX48" fmla="*/ 837524 w 1533525"/>
                  <a:gd name="connsiteY48" fmla="*/ 334962 h 542925"/>
                  <a:gd name="connsiteX49" fmla="*/ 883153 w 1533525"/>
                  <a:gd name="connsiteY49" fmla="*/ 338545 h 542925"/>
                  <a:gd name="connsiteX50" fmla="*/ 917375 w 1533525"/>
                  <a:gd name="connsiteY50" fmla="*/ 389427 h 542925"/>
                  <a:gd name="connsiteX51" fmla="*/ 919514 w 1533525"/>
                  <a:gd name="connsiteY51" fmla="*/ 395160 h 542925"/>
                  <a:gd name="connsiteX52" fmla="*/ 928069 w 1533525"/>
                  <a:gd name="connsiteY52" fmla="*/ 412360 h 542925"/>
                  <a:gd name="connsiteX53" fmla="*/ 936625 w 1533525"/>
                  <a:gd name="connsiteY53" fmla="*/ 422393 h 542925"/>
                  <a:gd name="connsiteX54" fmla="*/ 839663 w 1533525"/>
                  <a:gd name="connsiteY54" fmla="*/ 441026 h 542925"/>
                  <a:gd name="connsiteX55" fmla="*/ 817562 w 1533525"/>
                  <a:gd name="connsiteY55" fmla="*/ 460375 h 542925"/>
                  <a:gd name="connsiteX56" fmla="*/ 835386 w 1533525"/>
                  <a:gd name="connsiteY56" fmla="*/ 337112 h 542925"/>
                  <a:gd name="connsiteX57" fmla="*/ 837524 w 1533525"/>
                  <a:gd name="connsiteY57" fmla="*/ 334962 h 542925"/>
                  <a:gd name="connsiteX58" fmla="*/ 689650 w 1533525"/>
                  <a:gd name="connsiteY58" fmla="*/ 334962 h 542925"/>
                  <a:gd name="connsiteX59" fmla="*/ 691789 w 1533525"/>
                  <a:gd name="connsiteY59" fmla="*/ 337112 h 542925"/>
                  <a:gd name="connsiteX60" fmla="*/ 709613 w 1533525"/>
                  <a:gd name="connsiteY60" fmla="*/ 460375 h 542925"/>
                  <a:gd name="connsiteX61" fmla="*/ 687511 w 1533525"/>
                  <a:gd name="connsiteY61" fmla="*/ 441026 h 542925"/>
                  <a:gd name="connsiteX62" fmla="*/ 590550 w 1533525"/>
                  <a:gd name="connsiteY62" fmla="*/ 422393 h 542925"/>
                  <a:gd name="connsiteX63" fmla="*/ 600531 w 1533525"/>
                  <a:gd name="connsiteY63" fmla="*/ 410210 h 542925"/>
                  <a:gd name="connsiteX64" fmla="*/ 601244 w 1533525"/>
                  <a:gd name="connsiteY64" fmla="*/ 408777 h 542925"/>
                  <a:gd name="connsiteX65" fmla="*/ 607661 w 1533525"/>
                  <a:gd name="connsiteY65" fmla="*/ 395160 h 542925"/>
                  <a:gd name="connsiteX66" fmla="*/ 609087 w 1533525"/>
                  <a:gd name="connsiteY66" fmla="*/ 390860 h 542925"/>
                  <a:gd name="connsiteX67" fmla="*/ 644021 w 1533525"/>
                  <a:gd name="connsiteY67" fmla="*/ 338545 h 542925"/>
                  <a:gd name="connsiteX68" fmla="*/ 689650 w 1533525"/>
                  <a:gd name="connsiteY68" fmla="*/ 334962 h 542925"/>
                  <a:gd name="connsiteX69" fmla="*/ 180120 w 1533525"/>
                  <a:gd name="connsiteY69" fmla="*/ 334962 h 542925"/>
                  <a:gd name="connsiteX70" fmla="*/ 252360 w 1533525"/>
                  <a:gd name="connsiteY70" fmla="*/ 369082 h 542925"/>
                  <a:gd name="connsiteX71" fmla="*/ 323885 w 1533525"/>
                  <a:gd name="connsiteY71" fmla="*/ 334962 h 542925"/>
                  <a:gd name="connsiteX72" fmla="*/ 371806 w 1533525"/>
                  <a:gd name="connsiteY72" fmla="*/ 338516 h 542925"/>
                  <a:gd name="connsiteX73" fmla="*/ 406138 w 1533525"/>
                  <a:gd name="connsiteY73" fmla="*/ 388985 h 542925"/>
                  <a:gd name="connsiteX74" fmla="*/ 408284 w 1533525"/>
                  <a:gd name="connsiteY74" fmla="*/ 394671 h 542925"/>
                  <a:gd name="connsiteX75" fmla="*/ 416867 w 1533525"/>
                  <a:gd name="connsiteY75" fmla="*/ 411731 h 542925"/>
                  <a:gd name="connsiteX76" fmla="*/ 425450 w 1533525"/>
                  <a:gd name="connsiteY76" fmla="*/ 421682 h 542925"/>
                  <a:gd name="connsiteX77" fmla="*/ 328176 w 1533525"/>
                  <a:gd name="connsiteY77" fmla="*/ 440164 h 542925"/>
                  <a:gd name="connsiteX78" fmla="*/ 294560 w 1533525"/>
                  <a:gd name="connsiteY78" fmla="*/ 477837 h 542925"/>
                  <a:gd name="connsiteX79" fmla="*/ 34925 w 1533525"/>
                  <a:gd name="connsiteY79" fmla="*/ 477837 h 542925"/>
                  <a:gd name="connsiteX80" fmla="*/ 84992 w 1533525"/>
                  <a:gd name="connsiteY80" fmla="*/ 351311 h 542925"/>
                  <a:gd name="connsiteX81" fmla="*/ 180120 w 1533525"/>
                  <a:gd name="connsiteY81" fmla="*/ 334962 h 542925"/>
                  <a:gd name="connsiteX82" fmla="*/ 1381410 w 1533525"/>
                  <a:gd name="connsiteY82" fmla="*/ 215900 h 542925"/>
                  <a:gd name="connsiteX83" fmla="*/ 1414463 w 1533525"/>
                  <a:gd name="connsiteY83" fmla="*/ 298275 h 542925"/>
                  <a:gd name="connsiteX84" fmla="*/ 1376380 w 1533525"/>
                  <a:gd name="connsiteY84" fmla="*/ 320675 h 542925"/>
                  <a:gd name="connsiteX85" fmla="*/ 1349074 w 1533525"/>
                  <a:gd name="connsiteY85" fmla="*/ 319230 h 542925"/>
                  <a:gd name="connsiteX86" fmla="*/ 1346200 w 1533525"/>
                  <a:gd name="connsiteY86" fmla="*/ 317785 h 542925"/>
                  <a:gd name="connsiteX87" fmla="*/ 1346200 w 1533525"/>
                  <a:gd name="connsiteY87" fmla="*/ 293939 h 542925"/>
                  <a:gd name="connsiteX88" fmla="*/ 1381410 w 1533525"/>
                  <a:gd name="connsiteY88" fmla="*/ 215900 h 542925"/>
                  <a:gd name="connsiteX89" fmla="*/ 1167890 w 1533525"/>
                  <a:gd name="connsiteY89" fmla="*/ 215900 h 542925"/>
                  <a:gd name="connsiteX90" fmla="*/ 1203325 w 1533525"/>
                  <a:gd name="connsiteY90" fmla="*/ 293939 h 542925"/>
                  <a:gd name="connsiteX91" fmla="*/ 1203325 w 1533525"/>
                  <a:gd name="connsiteY91" fmla="*/ 317785 h 542925"/>
                  <a:gd name="connsiteX92" fmla="*/ 1200490 w 1533525"/>
                  <a:gd name="connsiteY92" fmla="*/ 319230 h 542925"/>
                  <a:gd name="connsiteX93" fmla="*/ 1173559 w 1533525"/>
                  <a:gd name="connsiteY93" fmla="*/ 320675 h 542925"/>
                  <a:gd name="connsiteX94" fmla="*/ 1163637 w 1533525"/>
                  <a:gd name="connsiteY94" fmla="*/ 317785 h 542925"/>
                  <a:gd name="connsiteX95" fmla="*/ 1171433 w 1533525"/>
                  <a:gd name="connsiteY95" fmla="*/ 278765 h 542925"/>
                  <a:gd name="connsiteX96" fmla="*/ 1165055 w 1533525"/>
                  <a:gd name="connsiteY96" fmla="*/ 233242 h 542925"/>
                  <a:gd name="connsiteX97" fmla="*/ 1167890 w 1533525"/>
                  <a:gd name="connsiteY97" fmla="*/ 215900 h 542925"/>
                  <a:gd name="connsiteX98" fmla="*/ 1275200 w 1533525"/>
                  <a:gd name="connsiteY98" fmla="*/ 0 h 542925"/>
                  <a:gd name="connsiteX99" fmla="*/ 1397875 w 1533525"/>
                  <a:gd name="connsiteY99" fmla="*/ 124537 h 542925"/>
                  <a:gd name="connsiteX100" fmla="*/ 1393596 w 1533525"/>
                  <a:gd name="connsiteY100" fmla="*/ 166524 h 542925"/>
                  <a:gd name="connsiteX101" fmla="*/ 1393596 w 1533525"/>
                  <a:gd name="connsiteY101" fmla="*/ 165812 h 542925"/>
                  <a:gd name="connsiteX102" fmla="*/ 1380044 w 1533525"/>
                  <a:gd name="connsiteY102" fmla="*/ 185026 h 542925"/>
                  <a:gd name="connsiteX103" fmla="*/ 1378618 w 1533525"/>
                  <a:gd name="connsiteY103" fmla="*/ 185738 h 542925"/>
                  <a:gd name="connsiteX104" fmla="*/ 1370772 w 1533525"/>
                  <a:gd name="connsiteY104" fmla="*/ 185738 h 542925"/>
                  <a:gd name="connsiteX105" fmla="*/ 1370059 w 1533525"/>
                  <a:gd name="connsiteY105" fmla="*/ 185026 h 542925"/>
                  <a:gd name="connsiteX106" fmla="*/ 1208870 w 1533525"/>
                  <a:gd name="connsiteY106" fmla="*/ 100341 h 542925"/>
                  <a:gd name="connsiteX107" fmla="*/ 1207444 w 1533525"/>
                  <a:gd name="connsiteY107" fmla="*/ 99630 h 542925"/>
                  <a:gd name="connsiteX108" fmla="*/ 1159658 w 1533525"/>
                  <a:gd name="connsiteY108" fmla="*/ 175064 h 542925"/>
                  <a:gd name="connsiteX109" fmla="*/ 1152525 w 1533525"/>
                  <a:gd name="connsiteY109" fmla="*/ 124537 h 542925"/>
                  <a:gd name="connsiteX110" fmla="*/ 1275200 w 1533525"/>
                  <a:gd name="connsiteY110" fmla="*/ 0 h 542925"/>
                  <a:gd name="connsiteX111" fmla="*/ 763587 w 1533525"/>
                  <a:gd name="connsiteY111" fmla="*/ 0 h 542925"/>
                  <a:gd name="connsiteX112" fmla="*/ 884237 w 1533525"/>
                  <a:gd name="connsiteY112" fmla="*/ 123004 h 542925"/>
                  <a:gd name="connsiteX113" fmla="*/ 879953 w 1533525"/>
                  <a:gd name="connsiteY113" fmla="*/ 164953 h 542925"/>
                  <a:gd name="connsiteX114" fmla="*/ 866389 w 1533525"/>
                  <a:gd name="connsiteY114" fmla="*/ 184150 h 542925"/>
                  <a:gd name="connsiteX115" fmla="*/ 857108 w 1533525"/>
                  <a:gd name="connsiteY115" fmla="*/ 184150 h 542925"/>
                  <a:gd name="connsiteX116" fmla="*/ 856394 w 1533525"/>
                  <a:gd name="connsiteY116" fmla="*/ 93142 h 542925"/>
                  <a:gd name="connsiteX117" fmla="*/ 697194 w 1533525"/>
                  <a:gd name="connsiteY117" fmla="*/ 98830 h 542925"/>
                  <a:gd name="connsiteX118" fmla="*/ 667923 w 1533525"/>
                  <a:gd name="connsiteY118" fmla="*/ 182017 h 542925"/>
                  <a:gd name="connsiteX119" fmla="*/ 660070 w 1533525"/>
                  <a:gd name="connsiteY119" fmla="*/ 181306 h 542925"/>
                  <a:gd name="connsiteX120" fmla="*/ 647934 w 1533525"/>
                  <a:gd name="connsiteY120" fmla="*/ 166375 h 542925"/>
                  <a:gd name="connsiteX121" fmla="*/ 642937 w 1533525"/>
                  <a:gd name="connsiteY121" fmla="*/ 123004 h 542925"/>
                  <a:gd name="connsiteX122" fmla="*/ 763587 w 1533525"/>
                  <a:gd name="connsiteY122" fmla="*/ 0 h 542925"/>
                  <a:gd name="connsiteX123" fmla="*/ 252412 w 1533525"/>
                  <a:gd name="connsiteY123" fmla="*/ 0 h 542925"/>
                  <a:gd name="connsiteX124" fmla="*/ 373062 w 1533525"/>
                  <a:gd name="connsiteY124" fmla="*/ 123004 h 542925"/>
                  <a:gd name="connsiteX125" fmla="*/ 368778 w 1533525"/>
                  <a:gd name="connsiteY125" fmla="*/ 164953 h 542925"/>
                  <a:gd name="connsiteX126" fmla="*/ 368064 w 1533525"/>
                  <a:gd name="connsiteY126" fmla="*/ 164953 h 542925"/>
                  <a:gd name="connsiteX127" fmla="*/ 354500 w 1533525"/>
                  <a:gd name="connsiteY127" fmla="*/ 184150 h 542925"/>
                  <a:gd name="connsiteX128" fmla="*/ 345933 w 1533525"/>
                  <a:gd name="connsiteY128" fmla="*/ 184150 h 542925"/>
                  <a:gd name="connsiteX129" fmla="*/ 344506 w 1533525"/>
                  <a:gd name="connsiteY129" fmla="*/ 93142 h 542925"/>
                  <a:gd name="connsiteX130" fmla="*/ 186019 w 1533525"/>
                  <a:gd name="connsiteY130" fmla="*/ 98830 h 542925"/>
                  <a:gd name="connsiteX131" fmla="*/ 156748 w 1533525"/>
                  <a:gd name="connsiteY131" fmla="*/ 182017 h 542925"/>
                  <a:gd name="connsiteX132" fmla="*/ 148182 w 1533525"/>
                  <a:gd name="connsiteY132" fmla="*/ 181306 h 542925"/>
                  <a:gd name="connsiteX133" fmla="*/ 136759 w 1533525"/>
                  <a:gd name="connsiteY133" fmla="*/ 166375 h 542925"/>
                  <a:gd name="connsiteX134" fmla="*/ 131762 w 1533525"/>
                  <a:gd name="connsiteY134" fmla="*/ 123004 h 542925"/>
                  <a:gd name="connsiteX135" fmla="*/ 252412 w 1533525"/>
                  <a:gd name="connsiteY135" fmla="*/ 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533525" h="542925">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5" name="Freeform 11">
                <a:extLst>
                  <a:ext uri="{FF2B5EF4-FFF2-40B4-BE49-F238E27FC236}">
                    <a16:creationId xmlns:a16="http://schemas.microsoft.com/office/drawing/2014/main" id="{9774F797-FE8D-4676-9F96-5D989228F4B5}"/>
                  </a:ext>
                </a:extLst>
              </p:cNvPr>
              <p:cNvSpPr>
                <a:spLocks/>
              </p:cNvSpPr>
              <p:nvPr/>
            </p:nvSpPr>
            <p:spPr bwMode="auto">
              <a:xfrm>
                <a:off x="5620327" y="3249613"/>
                <a:ext cx="951344" cy="458787"/>
              </a:xfrm>
              <a:custGeom>
                <a:avLst/>
                <a:gdLst>
                  <a:gd name="connsiteX0" fmla="*/ 660078 w 951344"/>
                  <a:gd name="connsiteY0" fmla="*/ 296862 h 458787"/>
                  <a:gd name="connsiteX1" fmla="*/ 691398 w 951344"/>
                  <a:gd name="connsiteY1" fmla="*/ 313982 h 458787"/>
                  <a:gd name="connsiteX2" fmla="*/ 709193 w 951344"/>
                  <a:gd name="connsiteY2" fmla="*/ 318262 h 458787"/>
                  <a:gd name="connsiteX3" fmla="*/ 731260 w 951344"/>
                  <a:gd name="connsiteY3" fmla="*/ 319689 h 458787"/>
                  <a:gd name="connsiteX4" fmla="*/ 753326 w 951344"/>
                  <a:gd name="connsiteY4" fmla="*/ 318262 h 458787"/>
                  <a:gd name="connsiteX5" fmla="*/ 771121 w 951344"/>
                  <a:gd name="connsiteY5" fmla="*/ 313982 h 458787"/>
                  <a:gd name="connsiteX6" fmla="*/ 803153 w 951344"/>
                  <a:gd name="connsiteY6" fmla="*/ 296862 h 458787"/>
                  <a:gd name="connsiteX7" fmla="*/ 897824 w 951344"/>
                  <a:gd name="connsiteY7" fmla="*/ 313269 h 458787"/>
                  <a:gd name="connsiteX8" fmla="*/ 907790 w 951344"/>
                  <a:gd name="connsiteY8" fmla="*/ 322542 h 458787"/>
                  <a:gd name="connsiteX9" fmla="*/ 916332 w 951344"/>
                  <a:gd name="connsiteY9" fmla="*/ 337522 h 458787"/>
                  <a:gd name="connsiteX10" fmla="*/ 923450 w 951344"/>
                  <a:gd name="connsiteY10" fmla="*/ 353928 h 458787"/>
                  <a:gd name="connsiteX11" fmla="*/ 923450 w 951344"/>
                  <a:gd name="connsiteY11" fmla="*/ 355355 h 458787"/>
                  <a:gd name="connsiteX12" fmla="*/ 934127 w 951344"/>
                  <a:gd name="connsiteY12" fmla="*/ 386741 h 458787"/>
                  <a:gd name="connsiteX13" fmla="*/ 951210 w 951344"/>
                  <a:gd name="connsiteY13" fmla="*/ 451654 h 458787"/>
                  <a:gd name="connsiteX14" fmla="*/ 945516 w 951344"/>
                  <a:gd name="connsiteY14" fmla="*/ 458787 h 458787"/>
                  <a:gd name="connsiteX15" fmla="*/ 517004 w 951344"/>
                  <a:gd name="connsiteY15" fmla="*/ 458787 h 458787"/>
                  <a:gd name="connsiteX16" fmla="*/ 512021 w 951344"/>
                  <a:gd name="connsiteY16" fmla="*/ 451654 h 458787"/>
                  <a:gd name="connsiteX17" fmla="*/ 529104 w 951344"/>
                  <a:gd name="connsiteY17" fmla="*/ 386741 h 458787"/>
                  <a:gd name="connsiteX18" fmla="*/ 539070 w 951344"/>
                  <a:gd name="connsiteY18" fmla="*/ 355355 h 458787"/>
                  <a:gd name="connsiteX19" fmla="*/ 539782 w 951344"/>
                  <a:gd name="connsiteY19" fmla="*/ 353928 h 458787"/>
                  <a:gd name="connsiteX20" fmla="*/ 546188 w 951344"/>
                  <a:gd name="connsiteY20" fmla="*/ 337522 h 458787"/>
                  <a:gd name="connsiteX21" fmla="*/ 554730 w 951344"/>
                  <a:gd name="connsiteY21" fmla="*/ 322542 h 458787"/>
                  <a:gd name="connsiteX22" fmla="*/ 565407 w 951344"/>
                  <a:gd name="connsiteY22" fmla="*/ 313269 h 458787"/>
                  <a:gd name="connsiteX23" fmla="*/ 660078 w 951344"/>
                  <a:gd name="connsiteY23" fmla="*/ 296862 h 458787"/>
                  <a:gd name="connsiteX24" fmla="*/ 148191 w 951344"/>
                  <a:gd name="connsiteY24" fmla="*/ 296862 h 458787"/>
                  <a:gd name="connsiteX25" fmla="*/ 178799 w 951344"/>
                  <a:gd name="connsiteY25" fmla="*/ 313269 h 458787"/>
                  <a:gd name="connsiteX26" fmla="*/ 198018 w 951344"/>
                  <a:gd name="connsiteY26" fmla="*/ 318262 h 458787"/>
                  <a:gd name="connsiteX27" fmla="*/ 220084 w 951344"/>
                  <a:gd name="connsiteY27" fmla="*/ 319689 h 458787"/>
                  <a:gd name="connsiteX28" fmla="*/ 242151 w 951344"/>
                  <a:gd name="connsiteY28" fmla="*/ 318262 h 458787"/>
                  <a:gd name="connsiteX29" fmla="*/ 259946 w 951344"/>
                  <a:gd name="connsiteY29" fmla="*/ 313982 h 458787"/>
                  <a:gd name="connsiteX30" fmla="*/ 291266 w 951344"/>
                  <a:gd name="connsiteY30" fmla="*/ 296862 h 458787"/>
                  <a:gd name="connsiteX31" fmla="*/ 385937 w 951344"/>
                  <a:gd name="connsiteY31" fmla="*/ 313269 h 458787"/>
                  <a:gd name="connsiteX32" fmla="*/ 396614 w 951344"/>
                  <a:gd name="connsiteY32" fmla="*/ 322542 h 458787"/>
                  <a:gd name="connsiteX33" fmla="*/ 405156 w 951344"/>
                  <a:gd name="connsiteY33" fmla="*/ 337522 h 458787"/>
                  <a:gd name="connsiteX34" fmla="*/ 411562 w 951344"/>
                  <a:gd name="connsiteY34" fmla="*/ 353928 h 458787"/>
                  <a:gd name="connsiteX35" fmla="*/ 412274 w 951344"/>
                  <a:gd name="connsiteY35" fmla="*/ 355355 h 458787"/>
                  <a:gd name="connsiteX36" fmla="*/ 422240 w 951344"/>
                  <a:gd name="connsiteY36" fmla="*/ 386741 h 458787"/>
                  <a:gd name="connsiteX37" fmla="*/ 439323 w 951344"/>
                  <a:gd name="connsiteY37" fmla="*/ 451654 h 458787"/>
                  <a:gd name="connsiteX38" fmla="*/ 434340 w 951344"/>
                  <a:gd name="connsiteY38" fmla="*/ 458787 h 458787"/>
                  <a:gd name="connsiteX39" fmla="*/ 5828 w 951344"/>
                  <a:gd name="connsiteY39" fmla="*/ 458787 h 458787"/>
                  <a:gd name="connsiteX40" fmla="*/ 134 w 951344"/>
                  <a:gd name="connsiteY40" fmla="*/ 451654 h 458787"/>
                  <a:gd name="connsiteX41" fmla="*/ 17217 w 951344"/>
                  <a:gd name="connsiteY41" fmla="*/ 386741 h 458787"/>
                  <a:gd name="connsiteX42" fmla="*/ 27894 w 951344"/>
                  <a:gd name="connsiteY42" fmla="*/ 355355 h 458787"/>
                  <a:gd name="connsiteX43" fmla="*/ 27894 w 951344"/>
                  <a:gd name="connsiteY43" fmla="*/ 353928 h 458787"/>
                  <a:gd name="connsiteX44" fmla="*/ 33589 w 951344"/>
                  <a:gd name="connsiteY44" fmla="*/ 341088 h 458787"/>
                  <a:gd name="connsiteX45" fmla="*/ 43554 w 951344"/>
                  <a:gd name="connsiteY45" fmla="*/ 322542 h 458787"/>
                  <a:gd name="connsiteX46" fmla="*/ 53520 w 951344"/>
                  <a:gd name="connsiteY46" fmla="*/ 313269 h 458787"/>
                  <a:gd name="connsiteX47" fmla="*/ 148191 w 951344"/>
                  <a:gd name="connsiteY47" fmla="*/ 296862 h 458787"/>
                  <a:gd name="connsiteX48" fmla="*/ 731260 w 951344"/>
                  <a:gd name="connsiteY48" fmla="*/ 0 h 458787"/>
                  <a:gd name="connsiteX49" fmla="*/ 851910 w 951344"/>
                  <a:gd name="connsiteY49" fmla="*/ 123188 h 458787"/>
                  <a:gd name="connsiteX50" fmla="*/ 849055 w 951344"/>
                  <a:gd name="connsiteY50" fmla="*/ 142414 h 458787"/>
                  <a:gd name="connsiteX51" fmla="*/ 848341 w 951344"/>
                  <a:gd name="connsiteY51" fmla="*/ 143838 h 458787"/>
                  <a:gd name="connsiteX52" fmla="*/ 842629 w 951344"/>
                  <a:gd name="connsiteY52" fmla="*/ 161640 h 458787"/>
                  <a:gd name="connsiteX53" fmla="*/ 842629 w 951344"/>
                  <a:gd name="connsiteY53" fmla="*/ 162352 h 458787"/>
                  <a:gd name="connsiteX54" fmla="*/ 838346 w 951344"/>
                  <a:gd name="connsiteY54" fmla="*/ 171609 h 458787"/>
                  <a:gd name="connsiteX55" fmla="*/ 826210 w 951344"/>
                  <a:gd name="connsiteY55" fmla="*/ 192971 h 458787"/>
                  <a:gd name="connsiteX56" fmla="*/ 806220 w 951344"/>
                  <a:gd name="connsiteY56" fmla="*/ 216470 h 458787"/>
                  <a:gd name="connsiteX57" fmla="*/ 796940 w 951344"/>
                  <a:gd name="connsiteY57" fmla="*/ 238544 h 458787"/>
                  <a:gd name="connsiteX58" fmla="*/ 791228 w 951344"/>
                  <a:gd name="connsiteY58" fmla="*/ 244952 h 458787"/>
                  <a:gd name="connsiteX59" fmla="*/ 770525 w 951344"/>
                  <a:gd name="connsiteY59" fmla="*/ 258482 h 458787"/>
                  <a:gd name="connsiteX60" fmla="*/ 731260 w 951344"/>
                  <a:gd name="connsiteY60" fmla="*/ 269875 h 458787"/>
                  <a:gd name="connsiteX61" fmla="*/ 691995 w 951344"/>
                  <a:gd name="connsiteY61" fmla="*/ 257770 h 458787"/>
                  <a:gd name="connsiteX62" fmla="*/ 671292 w 951344"/>
                  <a:gd name="connsiteY62" fmla="*/ 244240 h 458787"/>
                  <a:gd name="connsiteX63" fmla="*/ 665581 w 951344"/>
                  <a:gd name="connsiteY63" fmla="*/ 238544 h 458787"/>
                  <a:gd name="connsiteX64" fmla="*/ 656300 w 951344"/>
                  <a:gd name="connsiteY64" fmla="*/ 216470 h 458787"/>
                  <a:gd name="connsiteX65" fmla="*/ 637025 w 951344"/>
                  <a:gd name="connsiteY65" fmla="*/ 192971 h 458787"/>
                  <a:gd name="connsiteX66" fmla="*/ 624174 w 951344"/>
                  <a:gd name="connsiteY66" fmla="*/ 171609 h 458787"/>
                  <a:gd name="connsiteX67" fmla="*/ 619177 w 951344"/>
                  <a:gd name="connsiteY67" fmla="*/ 159504 h 458787"/>
                  <a:gd name="connsiteX68" fmla="*/ 619177 w 951344"/>
                  <a:gd name="connsiteY68" fmla="*/ 158080 h 458787"/>
                  <a:gd name="connsiteX69" fmla="*/ 610610 w 951344"/>
                  <a:gd name="connsiteY69" fmla="*/ 123188 h 458787"/>
                  <a:gd name="connsiteX70" fmla="*/ 731260 w 951344"/>
                  <a:gd name="connsiteY70" fmla="*/ 0 h 458787"/>
                  <a:gd name="connsiteX71" fmla="*/ 220085 w 951344"/>
                  <a:gd name="connsiteY71" fmla="*/ 0 h 458787"/>
                  <a:gd name="connsiteX72" fmla="*/ 340735 w 951344"/>
                  <a:gd name="connsiteY72" fmla="*/ 123188 h 458787"/>
                  <a:gd name="connsiteX73" fmla="*/ 331454 w 951344"/>
                  <a:gd name="connsiteY73" fmla="*/ 161640 h 458787"/>
                  <a:gd name="connsiteX74" fmla="*/ 331454 w 951344"/>
                  <a:gd name="connsiteY74" fmla="*/ 162352 h 458787"/>
                  <a:gd name="connsiteX75" fmla="*/ 327171 w 951344"/>
                  <a:gd name="connsiteY75" fmla="*/ 171609 h 458787"/>
                  <a:gd name="connsiteX76" fmla="*/ 315034 w 951344"/>
                  <a:gd name="connsiteY76" fmla="*/ 192971 h 458787"/>
                  <a:gd name="connsiteX77" fmla="*/ 295045 w 951344"/>
                  <a:gd name="connsiteY77" fmla="*/ 216470 h 458787"/>
                  <a:gd name="connsiteX78" fmla="*/ 285764 w 951344"/>
                  <a:gd name="connsiteY78" fmla="*/ 238544 h 458787"/>
                  <a:gd name="connsiteX79" fmla="*/ 279339 w 951344"/>
                  <a:gd name="connsiteY79" fmla="*/ 244952 h 458787"/>
                  <a:gd name="connsiteX80" fmla="*/ 259350 w 951344"/>
                  <a:gd name="connsiteY80" fmla="*/ 258482 h 458787"/>
                  <a:gd name="connsiteX81" fmla="*/ 220085 w 951344"/>
                  <a:gd name="connsiteY81" fmla="*/ 269875 h 458787"/>
                  <a:gd name="connsiteX82" fmla="*/ 180106 w 951344"/>
                  <a:gd name="connsiteY82" fmla="*/ 257770 h 458787"/>
                  <a:gd name="connsiteX83" fmla="*/ 159403 w 951344"/>
                  <a:gd name="connsiteY83" fmla="*/ 244240 h 458787"/>
                  <a:gd name="connsiteX84" fmla="*/ 154405 w 951344"/>
                  <a:gd name="connsiteY84" fmla="*/ 238544 h 458787"/>
                  <a:gd name="connsiteX85" fmla="*/ 145125 w 951344"/>
                  <a:gd name="connsiteY85" fmla="*/ 216470 h 458787"/>
                  <a:gd name="connsiteX86" fmla="*/ 125849 w 951344"/>
                  <a:gd name="connsiteY86" fmla="*/ 192971 h 458787"/>
                  <a:gd name="connsiteX87" fmla="*/ 112999 w 951344"/>
                  <a:gd name="connsiteY87" fmla="*/ 171609 h 458787"/>
                  <a:gd name="connsiteX88" fmla="*/ 108002 w 951344"/>
                  <a:gd name="connsiteY88" fmla="*/ 159504 h 458787"/>
                  <a:gd name="connsiteX89" fmla="*/ 107288 w 951344"/>
                  <a:gd name="connsiteY89" fmla="*/ 158080 h 458787"/>
                  <a:gd name="connsiteX90" fmla="*/ 99435 w 951344"/>
                  <a:gd name="connsiteY90" fmla="*/ 123188 h 458787"/>
                  <a:gd name="connsiteX91" fmla="*/ 220085 w 951344"/>
                  <a:gd name="connsiteY91" fmla="*/ 0 h 45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951344" h="458787">
                    <a:moveTo>
                      <a:pt x="660078" y="296862"/>
                    </a:moveTo>
                    <a:cubicBezTo>
                      <a:pt x="660078" y="296862"/>
                      <a:pt x="670756" y="306849"/>
                      <a:pt x="691398" y="313982"/>
                    </a:cubicBezTo>
                    <a:cubicBezTo>
                      <a:pt x="696381" y="315409"/>
                      <a:pt x="702787" y="316835"/>
                      <a:pt x="709193" y="318262"/>
                    </a:cubicBezTo>
                    <a:cubicBezTo>
                      <a:pt x="716312" y="318975"/>
                      <a:pt x="723430" y="319689"/>
                      <a:pt x="731260" y="319689"/>
                    </a:cubicBezTo>
                    <a:cubicBezTo>
                      <a:pt x="739090" y="319689"/>
                      <a:pt x="746920" y="318975"/>
                      <a:pt x="753326" y="318262"/>
                    </a:cubicBezTo>
                    <a:cubicBezTo>
                      <a:pt x="759732" y="316835"/>
                      <a:pt x="766139" y="315409"/>
                      <a:pt x="771121" y="313982"/>
                    </a:cubicBezTo>
                    <a:cubicBezTo>
                      <a:pt x="792476" y="306849"/>
                      <a:pt x="803153" y="296862"/>
                      <a:pt x="803153" y="296862"/>
                    </a:cubicBezTo>
                    <a:cubicBezTo>
                      <a:pt x="803153" y="296862"/>
                      <a:pt x="864369" y="297575"/>
                      <a:pt x="897824" y="313269"/>
                    </a:cubicBezTo>
                    <a:cubicBezTo>
                      <a:pt x="901383" y="314695"/>
                      <a:pt x="904231" y="318262"/>
                      <a:pt x="907790" y="322542"/>
                    </a:cubicBezTo>
                    <a:cubicBezTo>
                      <a:pt x="910637" y="326822"/>
                      <a:pt x="913484" y="331815"/>
                      <a:pt x="916332" y="337522"/>
                    </a:cubicBezTo>
                    <a:cubicBezTo>
                      <a:pt x="918467" y="342515"/>
                      <a:pt x="921314" y="348222"/>
                      <a:pt x="923450" y="353928"/>
                    </a:cubicBezTo>
                    <a:cubicBezTo>
                      <a:pt x="923450" y="354642"/>
                      <a:pt x="923450" y="355355"/>
                      <a:pt x="923450" y="355355"/>
                    </a:cubicBezTo>
                    <a:cubicBezTo>
                      <a:pt x="927721" y="365341"/>
                      <a:pt x="930568" y="376041"/>
                      <a:pt x="934127" y="386741"/>
                    </a:cubicBezTo>
                    <a:cubicBezTo>
                      <a:pt x="941957" y="415274"/>
                      <a:pt x="947651" y="443094"/>
                      <a:pt x="951210" y="451654"/>
                    </a:cubicBezTo>
                    <a:cubicBezTo>
                      <a:pt x="951922" y="455221"/>
                      <a:pt x="949787" y="458787"/>
                      <a:pt x="945516" y="458787"/>
                    </a:cubicBezTo>
                    <a:cubicBezTo>
                      <a:pt x="945516" y="458787"/>
                      <a:pt x="945516" y="458787"/>
                      <a:pt x="517004" y="458787"/>
                    </a:cubicBezTo>
                    <a:cubicBezTo>
                      <a:pt x="513445" y="458787"/>
                      <a:pt x="510597" y="455221"/>
                      <a:pt x="512021" y="451654"/>
                    </a:cubicBezTo>
                    <a:cubicBezTo>
                      <a:pt x="514868" y="443094"/>
                      <a:pt x="520563" y="415274"/>
                      <a:pt x="529104" y="386741"/>
                    </a:cubicBezTo>
                    <a:cubicBezTo>
                      <a:pt x="531952" y="376041"/>
                      <a:pt x="535511" y="365341"/>
                      <a:pt x="539070" y="355355"/>
                    </a:cubicBezTo>
                    <a:cubicBezTo>
                      <a:pt x="539070" y="355355"/>
                      <a:pt x="539070" y="354642"/>
                      <a:pt x="539782" y="353928"/>
                    </a:cubicBezTo>
                    <a:cubicBezTo>
                      <a:pt x="541917" y="348222"/>
                      <a:pt x="544053" y="342515"/>
                      <a:pt x="546188" y="337522"/>
                    </a:cubicBezTo>
                    <a:cubicBezTo>
                      <a:pt x="549035" y="331815"/>
                      <a:pt x="551882" y="326822"/>
                      <a:pt x="554730" y="322542"/>
                    </a:cubicBezTo>
                    <a:cubicBezTo>
                      <a:pt x="558289" y="318262"/>
                      <a:pt x="561848" y="314695"/>
                      <a:pt x="565407" y="313269"/>
                    </a:cubicBezTo>
                    <a:cubicBezTo>
                      <a:pt x="598150" y="297575"/>
                      <a:pt x="660078" y="296862"/>
                      <a:pt x="660078" y="296862"/>
                    </a:cubicBezTo>
                    <a:close/>
                    <a:moveTo>
                      <a:pt x="148191" y="296862"/>
                    </a:moveTo>
                    <a:cubicBezTo>
                      <a:pt x="148191" y="296862"/>
                      <a:pt x="158868" y="306849"/>
                      <a:pt x="178799" y="313269"/>
                    </a:cubicBezTo>
                    <a:cubicBezTo>
                      <a:pt x="184494" y="315409"/>
                      <a:pt x="190900" y="316835"/>
                      <a:pt x="198018" y="318262"/>
                    </a:cubicBezTo>
                    <a:cubicBezTo>
                      <a:pt x="204424" y="318975"/>
                      <a:pt x="212254" y="319689"/>
                      <a:pt x="220084" y="319689"/>
                    </a:cubicBezTo>
                    <a:cubicBezTo>
                      <a:pt x="227914" y="319689"/>
                      <a:pt x="235032" y="318975"/>
                      <a:pt x="242151" y="318262"/>
                    </a:cubicBezTo>
                    <a:cubicBezTo>
                      <a:pt x="248557" y="316835"/>
                      <a:pt x="254963" y="315409"/>
                      <a:pt x="259946" y="313982"/>
                    </a:cubicBezTo>
                    <a:cubicBezTo>
                      <a:pt x="280588" y="306849"/>
                      <a:pt x="291266" y="296862"/>
                      <a:pt x="291266" y="296862"/>
                    </a:cubicBezTo>
                    <a:cubicBezTo>
                      <a:pt x="291266" y="296862"/>
                      <a:pt x="353194" y="297575"/>
                      <a:pt x="385937" y="313269"/>
                    </a:cubicBezTo>
                    <a:cubicBezTo>
                      <a:pt x="389496" y="314695"/>
                      <a:pt x="393055" y="318262"/>
                      <a:pt x="396614" y="322542"/>
                    </a:cubicBezTo>
                    <a:cubicBezTo>
                      <a:pt x="399462" y="326822"/>
                      <a:pt x="402309" y="331815"/>
                      <a:pt x="405156" y="337522"/>
                    </a:cubicBezTo>
                    <a:cubicBezTo>
                      <a:pt x="407291" y="342515"/>
                      <a:pt x="409427" y="348222"/>
                      <a:pt x="411562" y="353928"/>
                    </a:cubicBezTo>
                    <a:cubicBezTo>
                      <a:pt x="412274" y="354642"/>
                      <a:pt x="412274" y="355355"/>
                      <a:pt x="412274" y="355355"/>
                    </a:cubicBezTo>
                    <a:cubicBezTo>
                      <a:pt x="415833" y="365341"/>
                      <a:pt x="419392" y="376041"/>
                      <a:pt x="422240" y="386741"/>
                    </a:cubicBezTo>
                    <a:cubicBezTo>
                      <a:pt x="430781" y="415274"/>
                      <a:pt x="436476" y="443094"/>
                      <a:pt x="439323" y="451654"/>
                    </a:cubicBezTo>
                    <a:cubicBezTo>
                      <a:pt x="440747" y="455221"/>
                      <a:pt x="437900" y="458787"/>
                      <a:pt x="434340" y="458787"/>
                    </a:cubicBezTo>
                    <a:cubicBezTo>
                      <a:pt x="434340" y="458787"/>
                      <a:pt x="434340" y="458787"/>
                      <a:pt x="5828" y="458787"/>
                    </a:cubicBezTo>
                    <a:cubicBezTo>
                      <a:pt x="1557" y="458787"/>
                      <a:pt x="-578" y="455221"/>
                      <a:pt x="134" y="451654"/>
                    </a:cubicBezTo>
                    <a:cubicBezTo>
                      <a:pt x="3693" y="443094"/>
                      <a:pt x="9387" y="415274"/>
                      <a:pt x="17217" y="386741"/>
                    </a:cubicBezTo>
                    <a:cubicBezTo>
                      <a:pt x="20776" y="376041"/>
                      <a:pt x="23623" y="365341"/>
                      <a:pt x="27894" y="355355"/>
                    </a:cubicBezTo>
                    <a:cubicBezTo>
                      <a:pt x="27894" y="355355"/>
                      <a:pt x="27894" y="354642"/>
                      <a:pt x="27894" y="353928"/>
                    </a:cubicBezTo>
                    <a:cubicBezTo>
                      <a:pt x="30030" y="349648"/>
                      <a:pt x="31453" y="345368"/>
                      <a:pt x="33589" y="341088"/>
                    </a:cubicBezTo>
                    <a:cubicBezTo>
                      <a:pt x="36436" y="333955"/>
                      <a:pt x="39995" y="327535"/>
                      <a:pt x="43554" y="322542"/>
                    </a:cubicBezTo>
                    <a:cubicBezTo>
                      <a:pt x="47113" y="318262"/>
                      <a:pt x="49961" y="314695"/>
                      <a:pt x="53520" y="313269"/>
                    </a:cubicBezTo>
                    <a:cubicBezTo>
                      <a:pt x="86975" y="297575"/>
                      <a:pt x="148191" y="296862"/>
                      <a:pt x="148191" y="296862"/>
                    </a:cubicBezTo>
                    <a:close/>
                    <a:moveTo>
                      <a:pt x="731260" y="0"/>
                    </a:moveTo>
                    <a:cubicBezTo>
                      <a:pt x="799795" y="0"/>
                      <a:pt x="851910" y="55541"/>
                      <a:pt x="851910" y="123188"/>
                    </a:cubicBezTo>
                    <a:cubicBezTo>
                      <a:pt x="851910" y="129597"/>
                      <a:pt x="850482" y="136005"/>
                      <a:pt x="849055" y="142414"/>
                    </a:cubicBezTo>
                    <a:cubicBezTo>
                      <a:pt x="849055" y="143126"/>
                      <a:pt x="848341" y="143126"/>
                      <a:pt x="848341" y="143838"/>
                    </a:cubicBezTo>
                    <a:cubicBezTo>
                      <a:pt x="846913" y="150247"/>
                      <a:pt x="844771" y="155943"/>
                      <a:pt x="842629" y="161640"/>
                    </a:cubicBezTo>
                    <a:cubicBezTo>
                      <a:pt x="842629" y="161640"/>
                      <a:pt x="842629" y="161640"/>
                      <a:pt x="842629" y="162352"/>
                    </a:cubicBezTo>
                    <a:cubicBezTo>
                      <a:pt x="842629" y="163776"/>
                      <a:pt x="841202" y="167337"/>
                      <a:pt x="838346" y="171609"/>
                    </a:cubicBezTo>
                    <a:cubicBezTo>
                      <a:pt x="835490" y="178018"/>
                      <a:pt x="831207" y="185850"/>
                      <a:pt x="826210" y="192971"/>
                    </a:cubicBezTo>
                    <a:cubicBezTo>
                      <a:pt x="819785" y="202940"/>
                      <a:pt x="811932" y="212197"/>
                      <a:pt x="806220" y="216470"/>
                    </a:cubicBezTo>
                    <a:cubicBezTo>
                      <a:pt x="799081" y="234983"/>
                      <a:pt x="803365" y="227863"/>
                      <a:pt x="796940" y="238544"/>
                    </a:cubicBezTo>
                    <a:cubicBezTo>
                      <a:pt x="795512" y="240680"/>
                      <a:pt x="793370" y="242816"/>
                      <a:pt x="791228" y="244952"/>
                    </a:cubicBezTo>
                    <a:cubicBezTo>
                      <a:pt x="786231" y="249225"/>
                      <a:pt x="779092" y="254209"/>
                      <a:pt x="770525" y="258482"/>
                    </a:cubicBezTo>
                    <a:cubicBezTo>
                      <a:pt x="757675" y="264890"/>
                      <a:pt x="742683" y="269875"/>
                      <a:pt x="731260" y="269875"/>
                    </a:cubicBezTo>
                    <a:cubicBezTo>
                      <a:pt x="719838" y="269875"/>
                      <a:pt x="704846" y="264178"/>
                      <a:pt x="691995" y="257770"/>
                    </a:cubicBezTo>
                    <a:cubicBezTo>
                      <a:pt x="683429" y="253497"/>
                      <a:pt x="676290" y="248513"/>
                      <a:pt x="671292" y="244240"/>
                    </a:cubicBezTo>
                    <a:cubicBezTo>
                      <a:pt x="669150" y="242104"/>
                      <a:pt x="667009" y="239968"/>
                      <a:pt x="665581" y="238544"/>
                    </a:cubicBezTo>
                    <a:cubicBezTo>
                      <a:pt x="659870" y="229999"/>
                      <a:pt x="663439" y="234983"/>
                      <a:pt x="656300" y="216470"/>
                    </a:cubicBezTo>
                    <a:cubicBezTo>
                      <a:pt x="652017" y="213621"/>
                      <a:pt x="644164" y="203652"/>
                      <a:pt x="637025" y="192971"/>
                    </a:cubicBezTo>
                    <a:cubicBezTo>
                      <a:pt x="632027" y="185850"/>
                      <a:pt x="627744" y="178730"/>
                      <a:pt x="624174" y="171609"/>
                    </a:cubicBezTo>
                    <a:cubicBezTo>
                      <a:pt x="621319" y="166625"/>
                      <a:pt x="619177" y="162352"/>
                      <a:pt x="619177" y="159504"/>
                    </a:cubicBezTo>
                    <a:cubicBezTo>
                      <a:pt x="619177" y="158792"/>
                      <a:pt x="619177" y="158792"/>
                      <a:pt x="619177" y="158080"/>
                    </a:cubicBezTo>
                    <a:cubicBezTo>
                      <a:pt x="616321" y="147399"/>
                      <a:pt x="610610" y="135293"/>
                      <a:pt x="610610" y="123188"/>
                    </a:cubicBezTo>
                    <a:cubicBezTo>
                      <a:pt x="610610" y="55541"/>
                      <a:pt x="663439" y="0"/>
                      <a:pt x="731260" y="0"/>
                    </a:cubicBezTo>
                    <a:close/>
                    <a:moveTo>
                      <a:pt x="220085" y="0"/>
                    </a:moveTo>
                    <a:cubicBezTo>
                      <a:pt x="287906" y="0"/>
                      <a:pt x="340735" y="55541"/>
                      <a:pt x="340735" y="123188"/>
                    </a:cubicBezTo>
                    <a:cubicBezTo>
                      <a:pt x="340735" y="136718"/>
                      <a:pt x="335024" y="149535"/>
                      <a:pt x="331454" y="161640"/>
                    </a:cubicBezTo>
                    <a:cubicBezTo>
                      <a:pt x="331454" y="161640"/>
                      <a:pt x="331454" y="161640"/>
                      <a:pt x="331454" y="162352"/>
                    </a:cubicBezTo>
                    <a:cubicBezTo>
                      <a:pt x="331454" y="163776"/>
                      <a:pt x="330026" y="167337"/>
                      <a:pt x="327171" y="171609"/>
                    </a:cubicBezTo>
                    <a:cubicBezTo>
                      <a:pt x="324315" y="178018"/>
                      <a:pt x="320032" y="185850"/>
                      <a:pt x="315034" y="192971"/>
                    </a:cubicBezTo>
                    <a:cubicBezTo>
                      <a:pt x="307895" y="202940"/>
                      <a:pt x="300756" y="212197"/>
                      <a:pt x="295045" y="216470"/>
                    </a:cubicBezTo>
                    <a:cubicBezTo>
                      <a:pt x="287192" y="234983"/>
                      <a:pt x="291475" y="227863"/>
                      <a:pt x="285764" y="238544"/>
                    </a:cubicBezTo>
                    <a:cubicBezTo>
                      <a:pt x="284336" y="240680"/>
                      <a:pt x="282195" y="242816"/>
                      <a:pt x="279339" y="244952"/>
                    </a:cubicBezTo>
                    <a:cubicBezTo>
                      <a:pt x="274342" y="249225"/>
                      <a:pt x="267203" y="254209"/>
                      <a:pt x="259350" y="258482"/>
                    </a:cubicBezTo>
                    <a:cubicBezTo>
                      <a:pt x="246499" y="264890"/>
                      <a:pt x="231507" y="269875"/>
                      <a:pt x="220085" y="269875"/>
                    </a:cubicBezTo>
                    <a:cubicBezTo>
                      <a:pt x="207948" y="269875"/>
                      <a:pt x="192956" y="264178"/>
                      <a:pt x="180106" y="257770"/>
                    </a:cubicBezTo>
                    <a:cubicBezTo>
                      <a:pt x="172253" y="253497"/>
                      <a:pt x="164400" y="248513"/>
                      <a:pt x="159403" y="244240"/>
                    </a:cubicBezTo>
                    <a:cubicBezTo>
                      <a:pt x="157261" y="242104"/>
                      <a:pt x="155833" y="239968"/>
                      <a:pt x="154405" y="238544"/>
                    </a:cubicBezTo>
                    <a:cubicBezTo>
                      <a:pt x="148694" y="229999"/>
                      <a:pt x="152264" y="234983"/>
                      <a:pt x="145125" y="216470"/>
                    </a:cubicBezTo>
                    <a:cubicBezTo>
                      <a:pt x="140841" y="213621"/>
                      <a:pt x="132988" y="203652"/>
                      <a:pt x="125849" y="192971"/>
                    </a:cubicBezTo>
                    <a:cubicBezTo>
                      <a:pt x="120852" y="185850"/>
                      <a:pt x="115855" y="178730"/>
                      <a:pt x="112999" y="171609"/>
                    </a:cubicBezTo>
                    <a:cubicBezTo>
                      <a:pt x="110143" y="166625"/>
                      <a:pt x="108002" y="162352"/>
                      <a:pt x="108002" y="159504"/>
                    </a:cubicBezTo>
                    <a:cubicBezTo>
                      <a:pt x="107288" y="158792"/>
                      <a:pt x="108002" y="158792"/>
                      <a:pt x="107288" y="158080"/>
                    </a:cubicBezTo>
                    <a:cubicBezTo>
                      <a:pt x="105146" y="147399"/>
                      <a:pt x="99435" y="135293"/>
                      <a:pt x="99435" y="123188"/>
                    </a:cubicBezTo>
                    <a:cubicBezTo>
                      <a:pt x="99435" y="55541"/>
                      <a:pt x="151550" y="0"/>
                      <a:pt x="22008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36" name="Group 4">
            <a:extLst>
              <a:ext uri="{FF2B5EF4-FFF2-40B4-BE49-F238E27FC236}">
                <a16:creationId xmlns:a16="http://schemas.microsoft.com/office/drawing/2014/main" id="{0CE252C0-9792-4C4C-A779-BA163D6499EB}"/>
              </a:ext>
            </a:extLst>
          </p:cNvPr>
          <p:cNvGrpSpPr>
            <a:grpSpLocks noChangeAspect="1"/>
          </p:cNvGrpSpPr>
          <p:nvPr/>
        </p:nvGrpSpPr>
        <p:grpSpPr bwMode="auto">
          <a:xfrm>
            <a:off x="7626844" y="2687442"/>
            <a:ext cx="1025710" cy="1026661"/>
            <a:chOff x="1682" y="0"/>
            <a:chExt cx="4316" cy="4320"/>
          </a:xfrm>
        </p:grpSpPr>
        <p:sp>
          <p:nvSpPr>
            <p:cNvPr id="37" name="AutoShape 3">
              <a:extLst>
                <a:ext uri="{FF2B5EF4-FFF2-40B4-BE49-F238E27FC236}">
                  <a16:creationId xmlns:a16="http://schemas.microsoft.com/office/drawing/2014/main" id="{53F6F522-4B07-4D6F-86A2-F35D62BC49C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5">
              <a:extLst>
                <a:ext uri="{FF2B5EF4-FFF2-40B4-BE49-F238E27FC236}">
                  <a16:creationId xmlns:a16="http://schemas.microsoft.com/office/drawing/2014/main" id="{BE80F24D-B872-4D9D-8303-9BCCD41BD308}"/>
                </a:ext>
              </a:extLst>
            </p:cNvPr>
            <p:cNvSpPr>
              <a:spLocks/>
            </p:cNvSpPr>
            <p:nvPr/>
          </p:nvSpPr>
          <p:spPr bwMode="auto">
            <a:xfrm>
              <a:off x="3261" y="1500"/>
              <a:ext cx="1813" cy="2102"/>
            </a:xfrm>
            <a:custGeom>
              <a:avLst/>
              <a:gdLst>
                <a:gd name="T0" fmla="*/ 903 w 968"/>
                <a:gd name="T1" fmla="*/ 333 h 1121"/>
                <a:gd name="T2" fmla="*/ 837 w 968"/>
                <a:gd name="T3" fmla="*/ 227 h 1121"/>
                <a:gd name="T4" fmla="*/ 829 w 968"/>
                <a:gd name="T5" fmla="*/ 131 h 1121"/>
                <a:gd name="T6" fmla="*/ 827 w 968"/>
                <a:gd name="T7" fmla="*/ 72 h 1121"/>
                <a:gd name="T8" fmla="*/ 815 w 968"/>
                <a:gd name="T9" fmla="*/ 0 h 1121"/>
                <a:gd name="T10" fmla="*/ 778 w 968"/>
                <a:gd name="T11" fmla="*/ 39 h 1121"/>
                <a:gd name="T12" fmla="*/ 783 w 968"/>
                <a:gd name="T13" fmla="*/ 75 h 1121"/>
                <a:gd name="T14" fmla="*/ 785 w 968"/>
                <a:gd name="T15" fmla="*/ 132 h 1121"/>
                <a:gd name="T16" fmla="*/ 796 w 968"/>
                <a:gd name="T17" fmla="*/ 244 h 1121"/>
                <a:gd name="T18" fmla="*/ 872 w 968"/>
                <a:gd name="T19" fmla="*/ 364 h 1121"/>
                <a:gd name="T20" fmla="*/ 915 w 968"/>
                <a:gd name="T21" fmla="*/ 430 h 1121"/>
                <a:gd name="T22" fmla="*/ 795 w 968"/>
                <a:gd name="T23" fmla="*/ 461 h 1121"/>
                <a:gd name="T24" fmla="*/ 778 w 968"/>
                <a:gd name="T25" fmla="*/ 467 h 1121"/>
                <a:gd name="T26" fmla="*/ 771 w 968"/>
                <a:gd name="T27" fmla="*/ 484 h 1121"/>
                <a:gd name="T28" fmla="*/ 776 w 968"/>
                <a:gd name="T29" fmla="*/ 622 h 1121"/>
                <a:gd name="T30" fmla="*/ 758 w 968"/>
                <a:gd name="T31" fmla="*/ 775 h 1121"/>
                <a:gd name="T32" fmla="*/ 624 w 968"/>
                <a:gd name="T33" fmla="*/ 793 h 1121"/>
                <a:gd name="T34" fmla="*/ 618 w 968"/>
                <a:gd name="T35" fmla="*/ 793 h 1121"/>
                <a:gd name="T36" fmla="*/ 482 w 968"/>
                <a:gd name="T37" fmla="*/ 786 h 1121"/>
                <a:gd name="T38" fmla="*/ 464 w 968"/>
                <a:gd name="T39" fmla="*/ 789 h 1121"/>
                <a:gd name="T40" fmla="*/ 454 w 968"/>
                <a:gd name="T41" fmla="*/ 807 h 1121"/>
                <a:gd name="T42" fmla="*/ 454 w 968"/>
                <a:gd name="T43" fmla="*/ 1077 h 1121"/>
                <a:gd name="T44" fmla="*/ 44 w 968"/>
                <a:gd name="T45" fmla="*/ 1000 h 1121"/>
                <a:gd name="T46" fmla="*/ 44 w 968"/>
                <a:gd name="T47" fmla="*/ 749 h 1121"/>
                <a:gd name="T48" fmla="*/ 0 w 968"/>
                <a:gd name="T49" fmla="*/ 720 h 1121"/>
                <a:gd name="T50" fmla="*/ 0 w 968"/>
                <a:gd name="T51" fmla="*/ 1012 h 1121"/>
                <a:gd name="T52" fmla="*/ 11 w 968"/>
                <a:gd name="T53" fmla="*/ 1031 h 1121"/>
                <a:gd name="T54" fmla="*/ 435 w 968"/>
                <a:gd name="T55" fmla="*/ 1121 h 1121"/>
                <a:gd name="T56" fmla="*/ 477 w 968"/>
                <a:gd name="T57" fmla="*/ 1120 h 1121"/>
                <a:gd name="T58" fmla="*/ 498 w 968"/>
                <a:gd name="T59" fmla="*/ 1098 h 1121"/>
                <a:gd name="T60" fmla="*/ 498 w 968"/>
                <a:gd name="T61" fmla="*/ 832 h 1121"/>
                <a:gd name="T62" fmla="*/ 612 w 968"/>
                <a:gd name="T63" fmla="*/ 837 h 1121"/>
                <a:gd name="T64" fmla="*/ 789 w 968"/>
                <a:gd name="T65" fmla="*/ 806 h 1121"/>
                <a:gd name="T66" fmla="*/ 820 w 968"/>
                <a:gd name="T67" fmla="*/ 621 h 1121"/>
                <a:gd name="T68" fmla="*/ 817 w 968"/>
                <a:gd name="T69" fmla="*/ 506 h 1121"/>
                <a:gd name="T70" fmla="*/ 956 w 968"/>
                <a:gd name="T71" fmla="*/ 446 h 1121"/>
                <a:gd name="T72" fmla="*/ 903 w 968"/>
                <a:gd name="T73" fmla="*/ 333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8" h="1121">
                  <a:moveTo>
                    <a:pt x="903" y="333"/>
                  </a:moveTo>
                  <a:cubicBezTo>
                    <a:pt x="874" y="304"/>
                    <a:pt x="850" y="259"/>
                    <a:pt x="837" y="227"/>
                  </a:cubicBezTo>
                  <a:cubicBezTo>
                    <a:pt x="831" y="214"/>
                    <a:pt x="830" y="166"/>
                    <a:pt x="829" y="131"/>
                  </a:cubicBezTo>
                  <a:cubicBezTo>
                    <a:pt x="829" y="109"/>
                    <a:pt x="828" y="88"/>
                    <a:pt x="827" y="72"/>
                  </a:cubicBezTo>
                  <a:cubicBezTo>
                    <a:pt x="825" y="52"/>
                    <a:pt x="820" y="25"/>
                    <a:pt x="815" y="0"/>
                  </a:cubicBezTo>
                  <a:cubicBezTo>
                    <a:pt x="804" y="13"/>
                    <a:pt x="792" y="26"/>
                    <a:pt x="778" y="39"/>
                  </a:cubicBezTo>
                  <a:cubicBezTo>
                    <a:pt x="780" y="53"/>
                    <a:pt x="782" y="65"/>
                    <a:pt x="783" y="75"/>
                  </a:cubicBezTo>
                  <a:cubicBezTo>
                    <a:pt x="784" y="90"/>
                    <a:pt x="785" y="111"/>
                    <a:pt x="785" y="132"/>
                  </a:cubicBezTo>
                  <a:cubicBezTo>
                    <a:pt x="787" y="187"/>
                    <a:pt x="788" y="224"/>
                    <a:pt x="796" y="244"/>
                  </a:cubicBezTo>
                  <a:cubicBezTo>
                    <a:pt x="803" y="261"/>
                    <a:pt x="830" y="322"/>
                    <a:pt x="872" y="364"/>
                  </a:cubicBezTo>
                  <a:cubicBezTo>
                    <a:pt x="901" y="393"/>
                    <a:pt x="914" y="421"/>
                    <a:pt x="915" y="430"/>
                  </a:cubicBezTo>
                  <a:cubicBezTo>
                    <a:pt x="908" y="440"/>
                    <a:pt x="874" y="469"/>
                    <a:pt x="795" y="461"/>
                  </a:cubicBezTo>
                  <a:cubicBezTo>
                    <a:pt x="789" y="460"/>
                    <a:pt x="782" y="462"/>
                    <a:pt x="778" y="467"/>
                  </a:cubicBezTo>
                  <a:cubicBezTo>
                    <a:pt x="773" y="471"/>
                    <a:pt x="771" y="478"/>
                    <a:pt x="771" y="484"/>
                  </a:cubicBezTo>
                  <a:cubicBezTo>
                    <a:pt x="771" y="485"/>
                    <a:pt x="776" y="551"/>
                    <a:pt x="776" y="622"/>
                  </a:cubicBezTo>
                  <a:cubicBezTo>
                    <a:pt x="776" y="753"/>
                    <a:pt x="760" y="773"/>
                    <a:pt x="758" y="775"/>
                  </a:cubicBezTo>
                  <a:cubicBezTo>
                    <a:pt x="756" y="777"/>
                    <a:pt x="737" y="793"/>
                    <a:pt x="624" y="793"/>
                  </a:cubicBezTo>
                  <a:cubicBezTo>
                    <a:pt x="622" y="793"/>
                    <a:pt x="620" y="793"/>
                    <a:pt x="618" y="793"/>
                  </a:cubicBezTo>
                  <a:cubicBezTo>
                    <a:pt x="552" y="793"/>
                    <a:pt x="491" y="788"/>
                    <a:pt x="482" y="786"/>
                  </a:cubicBezTo>
                  <a:cubicBezTo>
                    <a:pt x="476" y="784"/>
                    <a:pt x="469" y="785"/>
                    <a:pt x="464" y="789"/>
                  </a:cubicBezTo>
                  <a:cubicBezTo>
                    <a:pt x="458" y="793"/>
                    <a:pt x="454" y="800"/>
                    <a:pt x="454" y="807"/>
                  </a:cubicBezTo>
                  <a:cubicBezTo>
                    <a:pt x="454" y="1077"/>
                    <a:pt x="454" y="1077"/>
                    <a:pt x="454" y="1077"/>
                  </a:cubicBezTo>
                  <a:cubicBezTo>
                    <a:pt x="388" y="1078"/>
                    <a:pt x="178" y="1074"/>
                    <a:pt x="44" y="1000"/>
                  </a:cubicBezTo>
                  <a:cubicBezTo>
                    <a:pt x="44" y="749"/>
                    <a:pt x="44" y="749"/>
                    <a:pt x="44" y="749"/>
                  </a:cubicBezTo>
                  <a:cubicBezTo>
                    <a:pt x="31" y="743"/>
                    <a:pt x="17" y="733"/>
                    <a:pt x="0" y="720"/>
                  </a:cubicBezTo>
                  <a:cubicBezTo>
                    <a:pt x="0" y="1012"/>
                    <a:pt x="0" y="1012"/>
                    <a:pt x="0" y="1012"/>
                  </a:cubicBezTo>
                  <a:cubicBezTo>
                    <a:pt x="0" y="1020"/>
                    <a:pt x="4" y="1027"/>
                    <a:pt x="11" y="1031"/>
                  </a:cubicBezTo>
                  <a:cubicBezTo>
                    <a:pt x="144" y="1111"/>
                    <a:pt x="347" y="1121"/>
                    <a:pt x="435" y="1121"/>
                  </a:cubicBezTo>
                  <a:cubicBezTo>
                    <a:pt x="459" y="1121"/>
                    <a:pt x="475" y="1120"/>
                    <a:pt x="477" y="1120"/>
                  </a:cubicBezTo>
                  <a:cubicBezTo>
                    <a:pt x="489" y="1119"/>
                    <a:pt x="498" y="1110"/>
                    <a:pt x="498" y="1098"/>
                  </a:cubicBezTo>
                  <a:cubicBezTo>
                    <a:pt x="498" y="832"/>
                    <a:pt x="498" y="832"/>
                    <a:pt x="498" y="832"/>
                  </a:cubicBezTo>
                  <a:cubicBezTo>
                    <a:pt x="529" y="835"/>
                    <a:pt x="576" y="837"/>
                    <a:pt x="612" y="837"/>
                  </a:cubicBezTo>
                  <a:cubicBezTo>
                    <a:pt x="742" y="839"/>
                    <a:pt x="776" y="820"/>
                    <a:pt x="789" y="806"/>
                  </a:cubicBezTo>
                  <a:cubicBezTo>
                    <a:pt x="804" y="791"/>
                    <a:pt x="821" y="757"/>
                    <a:pt x="820" y="621"/>
                  </a:cubicBezTo>
                  <a:cubicBezTo>
                    <a:pt x="820" y="576"/>
                    <a:pt x="818" y="532"/>
                    <a:pt x="817" y="506"/>
                  </a:cubicBezTo>
                  <a:cubicBezTo>
                    <a:pt x="908" y="508"/>
                    <a:pt x="948" y="464"/>
                    <a:pt x="956" y="446"/>
                  </a:cubicBezTo>
                  <a:cubicBezTo>
                    <a:pt x="968" y="417"/>
                    <a:pt x="937" y="367"/>
                    <a:pt x="903" y="3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6">
              <a:extLst>
                <a:ext uri="{FF2B5EF4-FFF2-40B4-BE49-F238E27FC236}">
                  <a16:creationId xmlns:a16="http://schemas.microsoft.com/office/drawing/2014/main" id="{FB39FA93-98DF-4E24-A4E9-F1D6FB6458DE}"/>
                </a:ext>
              </a:extLst>
            </p:cNvPr>
            <p:cNvSpPr>
              <a:spLocks/>
            </p:cNvSpPr>
            <p:nvPr/>
          </p:nvSpPr>
          <p:spPr bwMode="auto">
            <a:xfrm>
              <a:off x="2450" y="701"/>
              <a:ext cx="2373" cy="2170"/>
            </a:xfrm>
            <a:custGeom>
              <a:avLst/>
              <a:gdLst>
                <a:gd name="T0" fmla="*/ 1266 w 1267"/>
                <a:gd name="T1" fmla="*/ 272 h 1157"/>
                <a:gd name="T2" fmla="*/ 802 w 1267"/>
                <a:gd name="T3" fmla="*/ 18 h 1157"/>
                <a:gd name="T4" fmla="*/ 226 w 1267"/>
                <a:gd name="T5" fmla="*/ 303 h 1157"/>
                <a:gd name="T6" fmla="*/ 514 w 1267"/>
                <a:gd name="T7" fmla="*/ 1141 h 1157"/>
                <a:gd name="T8" fmla="*/ 524 w 1267"/>
                <a:gd name="T9" fmla="*/ 697 h 1157"/>
                <a:gd name="T10" fmla="*/ 933 w 1267"/>
                <a:gd name="T11" fmla="*/ 577 h 1157"/>
                <a:gd name="T12" fmla="*/ 870 w 1267"/>
                <a:gd name="T13" fmla="*/ 639 h 1157"/>
                <a:gd name="T14" fmla="*/ 878 w 1267"/>
                <a:gd name="T15" fmla="*/ 653 h 1157"/>
                <a:gd name="T16" fmla="*/ 1212 w 1267"/>
                <a:gd name="T17" fmla="*/ 401 h 1157"/>
                <a:gd name="T18" fmla="*/ 1212 w 1267"/>
                <a:gd name="T19" fmla="*/ 401 h 1157"/>
                <a:gd name="T20" fmla="*/ 1266 w 1267"/>
                <a:gd name="T21" fmla="*/ 281 h 1157"/>
                <a:gd name="T22" fmla="*/ 1266 w 1267"/>
                <a:gd name="T23" fmla="*/ 272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7" h="1157">
                  <a:moveTo>
                    <a:pt x="1266" y="272"/>
                  </a:moveTo>
                  <a:cubicBezTo>
                    <a:pt x="1267" y="197"/>
                    <a:pt x="1145" y="39"/>
                    <a:pt x="802" y="18"/>
                  </a:cubicBezTo>
                  <a:cubicBezTo>
                    <a:pt x="501" y="0"/>
                    <a:pt x="306" y="149"/>
                    <a:pt x="226" y="303"/>
                  </a:cubicBezTo>
                  <a:cubicBezTo>
                    <a:pt x="0" y="737"/>
                    <a:pt x="477" y="1157"/>
                    <a:pt x="514" y="1141"/>
                  </a:cubicBezTo>
                  <a:cubicBezTo>
                    <a:pt x="568" y="1117"/>
                    <a:pt x="346" y="874"/>
                    <a:pt x="524" y="697"/>
                  </a:cubicBezTo>
                  <a:cubicBezTo>
                    <a:pt x="524" y="697"/>
                    <a:pt x="736" y="658"/>
                    <a:pt x="933" y="577"/>
                  </a:cubicBezTo>
                  <a:cubicBezTo>
                    <a:pt x="921" y="594"/>
                    <a:pt x="901" y="615"/>
                    <a:pt x="870" y="639"/>
                  </a:cubicBezTo>
                  <a:cubicBezTo>
                    <a:pt x="862" y="645"/>
                    <a:pt x="870" y="657"/>
                    <a:pt x="878" y="653"/>
                  </a:cubicBezTo>
                  <a:cubicBezTo>
                    <a:pt x="979" y="601"/>
                    <a:pt x="1162" y="469"/>
                    <a:pt x="1212" y="401"/>
                  </a:cubicBezTo>
                  <a:cubicBezTo>
                    <a:pt x="1212" y="401"/>
                    <a:pt x="1212" y="401"/>
                    <a:pt x="1212" y="401"/>
                  </a:cubicBezTo>
                  <a:cubicBezTo>
                    <a:pt x="1243" y="364"/>
                    <a:pt x="1263" y="324"/>
                    <a:pt x="1266" y="281"/>
                  </a:cubicBezTo>
                  <a:lnTo>
                    <a:pt x="1266" y="27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40" name="TextBox 39">
            <a:extLst>
              <a:ext uri="{FF2B5EF4-FFF2-40B4-BE49-F238E27FC236}">
                <a16:creationId xmlns:a16="http://schemas.microsoft.com/office/drawing/2014/main" id="{9F34EB93-9A51-4AB1-8E07-42C4A62C7E49}"/>
              </a:ext>
            </a:extLst>
          </p:cNvPr>
          <p:cNvSpPr txBox="1"/>
          <p:nvPr/>
        </p:nvSpPr>
        <p:spPr>
          <a:xfrm>
            <a:off x="3530064" y="4091074"/>
            <a:ext cx="1132836" cy="8985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dirty="0">
                <a:solidFill>
                  <a:srgbClr val="29BA74"/>
                </a:solidFill>
              </a:rPr>
              <a:t>5 voting members</a:t>
            </a:r>
          </a:p>
        </p:txBody>
      </p:sp>
      <p:sp>
        <p:nvSpPr>
          <p:cNvPr id="41" name="TextBox 40">
            <a:extLst>
              <a:ext uri="{FF2B5EF4-FFF2-40B4-BE49-F238E27FC236}">
                <a16:creationId xmlns:a16="http://schemas.microsoft.com/office/drawing/2014/main" id="{8235DAA2-2CD9-4625-A8F6-44104A1F63E7}"/>
              </a:ext>
            </a:extLst>
          </p:cNvPr>
          <p:cNvSpPr txBox="1"/>
          <p:nvPr/>
        </p:nvSpPr>
        <p:spPr>
          <a:xfrm>
            <a:off x="5404207" y="4091074"/>
            <a:ext cx="1432041" cy="8985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dirty="0">
                <a:solidFill>
                  <a:srgbClr val="29BA74"/>
                </a:solidFill>
              </a:rPr>
              <a:t>2+ (Co-ed)</a:t>
            </a:r>
          </a:p>
          <a:p>
            <a:pPr algn="ctr"/>
            <a:r>
              <a:rPr lang="en-US" sz="1600" dirty="0">
                <a:solidFill>
                  <a:srgbClr val="29BA74"/>
                </a:solidFill>
              </a:rPr>
              <a:t>3+ (Women's)</a:t>
            </a:r>
          </a:p>
        </p:txBody>
      </p:sp>
      <p:sp>
        <p:nvSpPr>
          <p:cNvPr id="42" name="TextBox 41">
            <a:extLst>
              <a:ext uri="{FF2B5EF4-FFF2-40B4-BE49-F238E27FC236}">
                <a16:creationId xmlns:a16="http://schemas.microsoft.com/office/drawing/2014/main" id="{C6C07A14-3553-4F77-8ECA-9EF6374171C9}"/>
              </a:ext>
            </a:extLst>
          </p:cNvPr>
          <p:cNvSpPr txBox="1"/>
          <p:nvPr/>
        </p:nvSpPr>
        <p:spPr>
          <a:xfrm>
            <a:off x="7423678" y="4091074"/>
            <a:ext cx="1432041" cy="8985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dirty="0">
                <a:solidFill>
                  <a:srgbClr val="29BA74"/>
                </a:solidFill>
              </a:rPr>
              <a:t>1 non-voting champ. committee</a:t>
            </a:r>
          </a:p>
        </p:txBody>
      </p:sp>
      <p:sp>
        <p:nvSpPr>
          <p:cNvPr id="43" name="TextBox 42">
            <a:extLst>
              <a:ext uri="{FF2B5EF4-FFF2-40B4-BE49-F238E27FC236}">
                <a16:creationId xmlns:a16="http://schemas.microsoft.com/office/drawing/2014/main" id="{FCB92CB7-EEAA-450C-87D3-73739E9707F3}"/>
              </a:ext>
            </a:extLst>
          </p:cNvPr>
          <p:cNvSpPr txBox="1"/>
          <p:nvPr/>
        </p:nvSpPr>
        <p:spPr>
          <a:xfrm>
            <a:off x="3744186" y="2045690"/>
            <a:ext cx="4703626" cy="362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2000" dirty="0">
                <a:solidFill>
                  <a:srgbClr val="6E6F73"/>
                </a:solidFill>
              </a:rPr>
              <a:t>Composition of Selection Committees</a:t>
            </a:r>
          </a:p>
        </p:txBody>
      </p:sp>
      <p:grpSp>
        <p:nvGrpSpPr>
          <p:cNvPr id="59" name="Group 58">
            <a:extLst>
              <a:ext uri="{FF2B5EF4-FFF2-40B4-BE49-F238E27FC236}">
                <a16:creationId xmlns:a16="http://schemas.microsoft.com/office/drawing/2014/main" id="{1CAA282A-34BF-4965-B76B-948EAECBC40B}"/>
              </a:ext>
            </a:extLst>
          </p:cNvPr>
          <p:cNvGrpSpPr/>
          <p:nvPr/>
        </p:nvGrpSpPr>
        <p:grpSpPr>
          <a:xfrm>
            <a:off x="3926923" y="5230945"/>
            <a:ext cx="4338152" cy="716631"/>
            <a:chOff x="4035159" y="5266781"/>
            <a:chExt cx="4338152" cy="716631"/>
          </a:xfrm>
        </p:grpSpPr>
        <p:grpSp>
          <p:nvGrpSpPr>
            <p:cNvPr id="53" name="Group 52">
              <a:extLst>
                <a:ext uri="{FF2B5EF4-FFF2-40B4-BE49-F238E27FC236}">
                  <a16:creationId xmlns:a16="http://schemas.microsoft.com/office/drawing/2014/main" id="{63CDA465-6BF6-4072-B651-0284DA96FAC1}"/>
                </a:ext>
              </a:extLst>
            </p:cNvPr>
            <p:cNvGrpSpPr>
              <a:grpSpLocks noChangeAspect="1"/>
            </p:cNvGrpSpPr>
            <p:nvPr/>
          </p:nvGrpSpPr>
          <p:grpSpPr>
            <a:xfrm>
              <a:off x="4035159" y="5266781"/>
              <a:ext cx="716631" cy="716631"/>
              <a:chOff x="5273803" y="2606803"/>
              <a:chExt cx="1645920" cy="1645920"/>
            </a:xfrm>
          </p:grpSpPr>
          <p:sp>
            <p:nvSpPr>
              <p:cNvPr id="54" name="AutoShape 23">
                <a:extLst>
                  <a:ext uri="{FF2B5EF4-FFF2-40B4-BE49-F238E27FC236}">
                    <a16:creationId xmlns:a16="http://schemas.microsoft.com/office/drawing/2014/main" id="{59820996-62FA-44B8-B84F-214575B76A41}"/>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5" name="Group 54">
                <a:extLst>
                  <a:ext uri="{FF2B5EF4-FFF2-40B4-BE49-F238E27FC236}">
                    <a16:creationId xmlns:a16="http://schemas.microsoft.com/office/drawing/2014/main" id="{0D6EEA1C-0158-4EF1-8BC1-ACA442D37813}"/>
                  </a:ext>
                </a:extLst>
              </p:cNvPr>
              <p:cNvGrpSpPr/>
              <p:nvPr/>
            </p:nvGrpSpPr>
            <p:grpSpPr>
              <a:xfrm>
                <a:off x="5484691" y="2758822"/>
                <a:ext cx="1224147" cy="1341882"/>
                <a:chOff x="5355525" y="2801969"/>
                <a:chExt cx="1522667" cy="1670659"/>
              </a:xfrm>
            </p:grpSpPr>
            <p:sp>
              <p:nvSpPr>
                <p:cNvPr id="56" name="Freeform 25">
                  <a:extLst>
                    <a:ext uri="{FF2B5EF4-FFF2-40B4-BE49-F238E27FC236}">
                      <a16:creationId xmlns:a16="http://schemas.microsoft.com/office/drawing/2014/main" id="{6837F8F5-CE6A-4089-B773-2A3804F541DA}"/>
                    </a:ext>
                  </a:extLst>
                </p:cNvPr>
                <p:cNvSpPr>
                  <a:spLocks noEditPoints="1"/>
                </p:cNvSpPr>
                <p:nvPr/>
              </p:nvSpPr>
              <p:spPr bwMode="auto">
                <a:xfrm>
                  <a:off x="5355528" y="3100810"/>
                  <a:ext cx="1522664" cy="1371818"/>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6">
                  <a:extLst>
                    <a:ext uri="{FF2B5EF4-FFF2-40B4-BE49-F238E27FC236}">
                      <a16:creationId xmlns:a16="http://schemas.microsoft.com/office/drawing/2014/main" id="{31E05623-10EA-479B-829D-9B6026ED8776}"/>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58" name="TextBox 57">
              <a:extLst>
                <a:ext uri="{FF2B5EF4-FFF2-40B4-BE49-F238E27FC236}">
                  <a16:creationId xmlns:a16="http://schemas.microsoft.com/office/drawing/2014/main" id="{B2149657-9252-4FF9-AFA5-AC7FA47639B3}"/>
                </a:ext>
              </a:extLst>
            </p:cNvPr>
            <p:cNvSpPr txBox="1"/>
            <p:nvPr/>
          </p:nvSpPr>
          <p:spPr>
            <a:xfrm>
              <a:off x="5128067" y="5316611"/>
              <a:ext cx="3245244" cy="6169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dirty="0">
                  <a:solidFill>
                    <a:srgbClr val="6E6F73"/>
                  </a:solidFill>
                </a:rPr>
                <a:t>Committee members selected by championship committee</a:t>
              </a:r>
            </a:p>
          </p:txBody>
        </p:sp>
      </p:grpSp>
    </p:spTree>
    <p:extLst>
      <p:ext uri="{BB962C8B-B14F-4D97-AF65-F5344CB8AC3E}">
        <p14:creationId xmlns:p14="http://schemas.microsoft.com/office/powerpoint/2010/main" val="2212386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259015-D119-4EE1-8C67-E6CF36E92EDA}"/>
              </a:ext>
            </a:extLst>
          </p:cNvPr>
          <p:cNvGraphicFramePr>
            <a:graphicFrameLocks noChangeAspect="1"/>
          </p:cNvGraphicFramePr>
          <p:nvPr>
            <p:custDataLst>
              <p:tags r:id="rId3"/>
            </p:custDataLst>
            <p:extLst>
              <p:ext uri="{D42A27DB-BD31-4B8C-83A1-F6EECF244321}">
                <p14:modId xmlns:p14="http://schemas.microsoft.com/office/powerpoint/2010/main" val="1066713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57"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4569554-C3BA-4AAE-8E4A-174D24A47955}"/>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Example scenario</a:t>
            </a:r>
          </a:p>
        </p:txBody>
      </p:sp>
      <p:sp>
        <p:nvSpPr>
          <p:cNvPr id="25" name="ee4pContent1">
            <a:extLst>
              <a:ext uri="{FF2B5EF4-FFF2-40B4-BE49-F238E27FC236}">
                <a16:creationId xmlns:a16="http://schemas.microsoft.com/office/drawing/2014/main" id="{25690A78-75E2-4B5F-A2CD-5260D258EDC5}"/>
              </a:ext>
            </a:extLst>
          </p:cNvPr>
          <p:cNvSpPr txBox="1"/>
          <p:nvPr/>
        </p:nvSpPr>
        <p:spPr>
          <a:xfrm>
            <a:off x="629400" y="2955600"/>
            <a:ext cx="3123862"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1</a:t>
            </a:r>
          </a:p>
          <a:p>
            <a:r>
              <a:rPr lang="en-US" dirty="0">
                <a:latin typeface="+mn-lt"/>
              </a:rPr>
              <a:t>#3</a:t>
            </a:r>
          </a:p>
          <a:p>
            <a:r>
              <a:rPr lang="en-US" dirty="0">
                <a:latin typeface="+mn-lt"/>
              </a:rPr>
              <a:t>#7</a:t>
            </a:r>
          </a:p>
          <a:p>
            <a:r>
              <a:rPr lang="en-US" dirty="0">
                <a:latin typeface="+mn-lt"/>
              </a:rPr>
              <a:t>#4</a:t>
            </a:r>
          </a:p>
          <a:p>
            <a:r>
              <a:rPr lang="en-US" dirty="0">
                <a:latin typeface="+mn-lt"/>
              </a:rPr>
              <a:t>#12</a:t>
            </a:r>
          </a:p>
          <a:p>
            <a:r>
              <a:rPr lang="en-US" dirty="0">
                <a:latin typeface="+mn-lt"/>
              </a:rPr>
              <a:t>#13</a:t>
            </a:r>
          </a:p>
          <a:p>
            <a:r>
              <a:rPr lang="en-US" dirty="0">
                <a:latin typeface="+mn-lt"/>
              </a:rPr>
              <a:t>#22</a:t>
            </a:r>
          </a:p>
          <a:p>
            <a:r>
              <a:rPr lang="en-US" dirty="0">
                <a:latin typeface="+mn-lt"/>
              </a:rPr>
              <a:t>#27</a:t>
            </a:r>
          </a:p>
          <a:p>
            <a:r>
              <a:rPr lang="en-US" dirty="0">
                <a:latin typeface="+mn-lt"/>
              </a:rPr>
              <a:t>#34</a:t>
            </a:r>
          </a:p>
          <a:p>
            <a:r>
              <a:rPr lang="en-US" dirty="0">
                <a:latin typeface="+mn-lt"/>
              </a:rPr>
              <a:t>#40</a:t>
            </a:r>
          </a:p>
        </p:txBody>
      </p:sp>
      <p:sp>
        <p:nvSpPr>
          <p:cNvPr id="26" name="ee4pContent2">
            <a:extLst>
              <a:ext uri="{FF2B5EF4-FFF2-40B4-BE49-F238E27FC236}">
                <a16:creationId xmlns:a16="http://schemas.microsoft.com/office/drawing/2014/main" id="{52AFB7BF-EE4C-430A-A11A-A8A866B63E17}"/>
              </a:ext>
            </a:extLst>
          </p:cNvPr>
          <p:cNvSpPr txBox="1"/>
          <p:nvPr/>
        </p:nvSpPr>
        <p:spPr>
          <a:xfrm>
            <a:off x="4533030"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2</a:t>
            </a:r>
          </a:p>
          <a:p>
            <a:r>
              <a:rPr lang="en-US" dirty="0">
                <a:latin typeface="+mn-lt"/>
              </a:rPr>
              <a:t>#5</a:t>
            </a:r>
          </a:p>
          <a:p>
            <a:r>
              <a:rPr lang="en-US" dirty="0">
                <a:latin typeface="+mn-lt"/>
              </a:rPr>
              <a:t>#6</a:t>
            </a:r>
          </a:p>
          <a:p>
            <a:r>
              <a:rPr lang="en-US" dirty="0">
                <a:latin typeface="+mn-lt"/>
              </a:rPr>
              <a:t>#8</a:t>
            </a:r>
          </a:p>
          <a:p>
            <a:r>
              <a:rPr lang="en-US" dirty="0">
                <a:latin typeface="+mn-lt"/>
              </a:rPr>
              <a:t>#9</a:t>
            </a:r>
          </a:p>
          <a:p>
            <a:pPr>
              <a:buNone/>
            </a:pPr>
            <a:r>
              <a:rPr lang="en-US" dirty="0">
                <a:latin typeface="+mn-lt"/>
              </a:rPr>
              <a:t>#10</a:t>
            </a:r>
          </a:p>
          <a:p>
            <a:pPr>
              <a:buNone/>
            </a:pPr>
            <a:r>
              <a:rPr lang="en-US" dirty="0">
                <a:latin typeface="+mn-lt"/>
              </a:rPr>
              <a:t>#11</a:t>
            </a:r>
          </a:p>
          <a:p>
            <a:pPr>
              <a:buNone/>
            </a:pPr>
            <a:r>
              <a:rPr lang="en-US" dirty="0">
                <a:latin typeface="+mn-lt"/>
              </a:rPr>
              <a:t>#14</a:t>
            </a:r>
          </a:p>
          <a:p>
            <a:pPr>
              <a:buNone/>
            </a:pPr>
            <a:r>
              <a:rPr lang="en-US" dirty="0">
                <a:latin typeface="+mn-lt"/>
              </a:rPr>
              <a:t>#15</a:t>
            </a:r>
          </a:p>
          <a:p>
            <a:pPr>
              <a:buNone/>
            </a:pPr>
            <a:r>
              <a:rPr lang="en-US" dirty="0">
                <a:latin typeface="+mn-lt"/>
              </a:rPr>
              <a:t>#16</a:t>
            </a:r>
          </a:p>
          <a:p>
            <a:pPr>
              <a:buNone/>
            </a:pPr>
            <a:r>
              <a:rPr lang="en-US" dirty="0">
                <a:latin typeface="+mn-lt"/>
              </a:rPr>
              <a:t>#19</a:t>
            </a:r>
          </a:p>
          <a:p>
            <a:pPr>
              <a:buNone/>
            </a:pPr>
            <a:r>
              <a:rPr lang="en-US" dirty="0">
                <a:latin typeface="+mn-lt"/>
              </a:rPr>
              <a:t>#21</a:t>
            </a:r>
          </a:p>
          <a:p>
            <a:endParaRPr lang="en-US" dirty="0">
              <a:latin typeface="+mn-lt"/>
            </a:endParaRPr>
          </a:p>
        </p:txBody>
      </p:sp>
      <p:sp>
        <p:nvSpPr>
          <p:cNvPr id="27" name="ee4pContent3">
            <a:extLst>
              <a:ext uri="{FF2B5EF4-FFF2-40B4-BE49-F238E27FC236}">
                <a16:creationId xmlns:a16="http://schemas.microsoft.com/office/drawing/2014/main" id="{EDF24A7C-6B00-4C1C-95D4-245F8F1E2494}"/>
              </a:ext>
            </a:extLst>
          </p:cNvPr>
          <p:cNvSpPr txBox="1"/>
          <p:nvPr/>
        </p:nvSpPr>
        <p:spPr>
          <a:xfrm>
            <a:off x="8437258"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17</a:t>
            </a:r>
          </a:p>
          <a:p>
            <a:r>
              <a:rPr lang="en-US" dirty="0">
                <a:latin typeface="+mn-lt"/>
              </a:rPr>
              <a:t>#18</a:t>
            </a:r>
          </a:p>
          <a:p>
            <a:r>
              <a:rPr lang="en-US" dirty="0">
                <a:latin typeface="+mn-lt"/>
              </a:rPr>
              <a:t>#20</a:t>
            </a:r>
          </a:p>
          <a:p>
            <a:r>
              <a:rPr lang="en-US" dirty="0">
                <a:latin typeface="+mn-lt"/>
              </a:rPr>
              <a:t>#23-26</a:t>
            </a:r>
          </a:p>
          <a:p>
            <a:r>
              <a:rPr lang="en-US" dirty="0">
                <a:latin typeface="+mn-lt"/>
              </a:rPr>
              <a:t>#28-33</a:t>
            </a:r>
          </a:p>
          <a:p>
            <a:r>
              <a:rPr lang="en-US" dirty="0">
                <a:latin typeface="+mn-lt"/>
              </a:rPr>
              <a:t>#35-39</a:t>
            </a:r>
          </a:p>
          <a:p>
            <a:r>
              <a:rPr lang="en-US" dirty="0">
                <a:latin typeface="+mn-lt"/>
              </a:rPr>
              <a:t>#41+</a:t>
            </a:r>
          </a:p>
          <a:p>
            <a:endParaRPr lang="en-US" dirty="0">
              <a:latin typeface="+mn-lt"/>
            </a:endParaRPr>
          </a:p>
        </p:txBody>
      </p:sp>
      <p:sp>
        <p:nvSpPr>
          <p:cNvPr id="28" name="ee4pHeader1">
            <a:extLst>
              <a:ext uri="{FF2B5EF4-FFF2-40B4-BE49-F238E27FC236}">
                <a16:creationId xmlns:a16="http://schemas.microsoft.com/office/drawing/2014/main" id="{B0798B8B-A7AA-4085-8FEE-C068B72788CA}"/>
              </a:ext>
            </a:extLst>
          </p:cNvPr>
          <p:cNvSpPr txBox="1"/>
          <p:nvPr/>
        </p:nvSpPr>
        <p:spPr>
          <a:xfrm>
            <a:off x="629400" y="2077200"/>
            <a:ext cx="3123862"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Round 1: </a:t>
            </a:r>
          </a:p>
          <a:p>
            <a:pPr marL="0" lvl="3"/>
            <a:r>
              <a:rPr lang="en-US" dirty="0">
                <a:solidFill>
                  <a:schemeClr val="tx2"/>
                </a:solidFill>
              </a:rPr>
              <a:t>Conference Champions (top 2)</a:t>
            </a:r>
          </a:p>
        </p:txBody>
      </p:sp>
      <p:sp>
        <p:nvSpPr>
          <p:cNvPr id="29" name="ee4pHeader2">
            <a:extLst>
              <a:ext uri="{FF2B5EF4-FFF2-40B4-BE49-F238E27FC236}">
                <a16:creationId xmlns:a16="http://schemas.microsoft.com/office/drawing/2014/main" id="{10600434-3DBF-40D7-B422-F69C131FF309}"/>
              </a:ext>
            </a:extLst>
          </p:cNvPr>
          <p:cNvSpPr txBox="1"/>
          <p:nvPr/>
        </p:nvSpPr>
        <p:spPr>
          <a:xfrm>
            <a:off x="4533030" y="2077200"/>
            <a:ext cx="3125941"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Round 2:</a:t>
            </a:r>
          </a:p>
          <a:p>
            <a:pPr marL="0" lvl="3"/>
            <a:r>
              <a:rPr lang="en-US" dirty="0">
                <a:solidFill>
                  <a:schemeClr val="tx2"/>
                </a:solidFill>
              </a:rPr>
              <a:t>Direct selection teams</a:t>
            </a:r>
          </a:p>
        </p:txBody>
      </p:sp>
      <p:sp>
        <p:nvSpPr>
          <p:cNvPr id="30" name="ee4pHeader3">
            <a:extLst>
              <a:ext uri="{FF2B5EF4-FFF2-40B4-BE49-F238E27FC236}">
                <a16:creationId xmlns:a16="http://schemas.microsoft.com/office/drawing/2014/main" id="{87EB3D02-A957-4131-8E8E-FD1E430A13D4}"/>
              </a:ext>
            </a:extLst>
          </p:cNvPr>
          <p:cNvSpPr txBox="1"/>
          <p:nvPr/>
        </p:nvSpPr>
        <p:spPr>
          <a:xfrm>
            <a:off x="8437258" y="2077200"/>
            <a:ext cx="3125941"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Round 3+:</a:t>
            </a:r>
          </a:p>
          <a:p>
            <a:pPr marL="0" lvl="3"/>
            <a:r>
              <a:rPr lang="en-US" dirty="0">
                <a:solidFill>
                  <a:schemeClr val="tx2"/>
                </a:solidFill>
              </a:rPr>
              <a:t>All remaining teams</a:t>
            </a:r>
          </a:p>
        </p:txBody>
      </p:sp>
    </p:spTree>
    <p:custDataLst>
      <p:tags r:id="rId2"/>
    </p:custDataLst>
    <p:extLst>
      <p:ext uri="{BB962C8B-B14F-4D97-AF65-F5344CB8AC3E}">
        <p14:creationId xmlns:p14="http://schemas.microsoft.com/office/powerpoint/2010/main" val="903661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B0127B-7E8D-4AB9-935E-9632D3097AAD}"/>
              </a:ext>
            </a:extLst>
          </p:cNvPr>
          <p:cNvGraphicFramePr>
            <a:graphicFrameLocks noChangeAspect="1"/>
          </p:cNvGraphicFramePr>
          <p:nvPr>
            <p:custDataLst>
              <p:tags r:id="rId3"/>
            </p:custDataLst>
            <p:extLst>
              <p:ext uri="{D42A27DB-BD31-4B8C-83A1-F6EECF244321}">
                <p14:modId xmlns:p14="http://schemas.microsoft.com/office/powerpoint/2010/main" val="403582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80"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92B0B49-8DA9-4540-AE89-481D3F279F92}"/>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ee4pContent1"/>
          <p:cNvSpPr txBox="1"/>
          <p:nvPr/>
        </p:nvSpPr>
        <p:spPr>
          <a:xfrm>
            <a:off x="629400" y="2955599"/>
            <a:ext cx="499564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2400" dirty="0"/>
              <a:t>#17</a:t>
            </a:r>
          </a:p>
          <a:p>
            <a:r>
              <a:rPr lang="en-US" sz="2400" dirty="0"/>
              <a:t>#18</a:t>
            </a:r>
          </a:p>
          <a:p>
            <a:r>
              <a:rPr lang="en-US" sz="2400" dirty="0"/>
              <a:t>#20</a:t>
            </a:r>
          </a:p>
          <a:p>
            <a:r>
              <a:rPr lang="en-US" sz="2400" dirty="0"/>
              <a:t>#23-26</a:t>
            </a:r>
          </a:p>
          <a:p>
            <a:r>
              <a:rPr lang="en-US" sz="2400" dirty="0"/>
              <a:t>#28-33</a:t>
            </a:r>
          </a:p>
          <a:p>
            <a:r>
              <a:rPr lang="en-US" sz="2400" dirty="0"/>
              <a:t>#35-39</a:t>
            </a:r>
          </a:p>
          <a:p>
            <a:r>
              <a:rPr lang="en-US" sz="2400" dirty="0"/>
              <a:t>#41+</a:t>
            </a:r>
          </a:p>
          <a:p>
            <a:pPr>
              <a:buNone/>
            </a:pPr>
            <a:endParaRPr lang="en-US" dirty="0">
              <a:latin typeface="+mn-lt"/>
            </a:endParaRPr>
          </a:p>
        </p:txBody>
      </p:sp>
      <p:sp>
        <p:nvSpPr>
          <p:cNvPr id="12" name="ee4pContent2"/>
          <p:cNvSpPr txBox="1"/>
          <p:nvPr/>
        </p:nvSpPr>
        <p:spPr>
          <a:xfrm>
            <a:off x="6567560" y="2955599"/>
            <a:ext cx="499564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2400" dirty="0"/>
              <a:t>#17</a:t>
            </a:r>
          </a:p>
          <a:p>
            <a:r>
              <a:rPr lang="en-US" sz="2400" dirty="0"/>
              <a:t>#18</a:t>
            </a:r>
          </a:p>
          <a:p>
            <a:r>
              <a:rPr lang="en-US" sz="2400" dirty="0"/>
              <a:t>#20</a:t>
            </a:r>
          </a:p>
          <a:p>
            <a:r>
              <a:rPr lang="en-US" sz="2400" dirty="0"/>
              <a:t>#23-26</a:t>
            </a:r>
          </a:p>
          <a:p>
            <a:r>
              <a:rPr lang="en-US" sz="2400" dirty="0"/>
              <a:t>#28-33</a:t>
            </a:r>
          </a:p>
          <a:p>
            <a:r>
              <a:rPr lang="en-US" sz="2400" dirty="0"/>
              <a:t>#35-39</a:t>
            </a:r>
          </a:p>
          <a:p>
            <a:r>
              <a:rPr lang="en-US" sz="2400" dirty="0"/>
              <a:t>#41-50</a:t>
            </a:r>
          </a:p>
        </p:txBody>
      </p:sp>
      <p:sp>
        <p:nvSpPr>
          <p:cNvPr id="9" name="ee4pHeader1"/>
          <p:cNvSpPr txBox="1"/>
          <p:nvPr/>
        </p:nvSpPr>
        <p:spPr>
          <a:xfrm>
            <a:off x="629400" y="2077151"/>
            <a:ext cx="4995640" cy="759600"/>
          </a:xfrm>
          <a:prstGeom prst="rect">
            <a:avLst/>
          </a:prstGeom>
          <a:noFill/>
          <a:ln cap="rnd">
            <a:noFill/>
          </a:ln>
        </p:spPr>
        <p:txBody>
          <a:bodyPr wrap="square" lIns="0" tIns="0" rIns="0" bIns="0" rtlCol="0" anchor="t">
            <a:noAutofit/>
          </a:bodyPr>
          <a:lstStyle/>
          <a:p>
            <a:pPr marL="0" lvl="3"/>
            <a:r>
              <a:rPr lang="en-US" sz="2400" dirty="0">
                <a:solidFill>
                  <a:schemeClr val="tx2"/>
                </a:solidFill>
              </a:rPr>
              <a:t>Full field of eligible teams</a:t>
            </a:r>
          </a:p>
        </p:txBody>
      </p:sp>
      <p:sp>
        <p:nvSpPr>
          <p:cNvPr id="10" name="ee4pHeader2"/>
          <p:cNvSpPr txBox="1"/>
          <p:nvPr/>
        </p:nvSpPr>
        <p:spPr>
          <a:xfrm>
            <a:off x="6566960" y="2077151"/>
            <a:ext cx="4995640" cy="759600"/>
          </a:xfrm>
          <a:prstGeom prst="rect">
            <a:avLst/>
          </a:prstGeom>
          <a:noFill/>
          <a:ln cap="rnd">
            <a:noFill/>
          </a:ln>
        </p:spPr>
        <p:txBody>
          <a:bodyPr wrap="square" lIns="0" tIns="0" rIns="0" bIns="0" rtlCol="0" anchor="t">
            <a:noAutofit/>
          </a:bodyPr>
          <a:lstStyle/>
          <a:p>
            <a:pPr marL="0" lvl="3"/>
            <a:r>
              <a:rPr lang="en-US" sz="3200" dirty="0">
                <a:solidFill>
                  <a:schemeClr val="tx2"/>
                </a:solidFill>
              </a:rPr>
              <a:t>Round 3 Group:</a:t>
            </a:r>
          </a:p>
          <a:p>
            <a:pPr marL="0" lvl="3"/>
            <a:r>
              <a:rPr lang="en-US" dirty="0">
                <a:solidFill>
                  <a:schemeClr val="tx2"/>
                </a:solidFill>
              </a:rPr>
              <a:t>Top 28 CSR teams not in championship field</a:t>
            </a:r>
            <a:endParaRPr lang="en-US" sz="2400" dirty="0">
              <a:solidFill>
                <a:schemeClr val="tx2"/>
              </a:solidFill>
            </a:endParaRPr>
          </a:p>
        </p:txBody>
      </p:sp>
      <p:sp>
        <p:nvSpPr>
          <p:cNvPr id="2" name="Title 1"/>
          <p:cNvSpPr>
            <a:spLocks noGrp="1"/>
          </p:cNvSpPr>
          <p:nvPr>
            <p:ph type="title"/>
          </p:nvPr>
        </p:nvSpPr>
        <p:spPr/>
        <p:txBody>
          <a:bodyPr/>
          <a:lstStyle/>
          <a:p>
            <a:r>
              <a:rPr lang="en-US" dirty="0"/>
              <a:t>Selection of remaining 14 berths</a:t>
            </a:r>
          </a:p>
        </p:txBody>
      </p:sp>
      <p:grpSp>
        <p:nvGrpSpPr>
          <p:cNvPr id="28" name="Group 27">
            <a:extLst>
              <a:ext uri="{FF2B5EF4-FFF2-40B4-BE49-F238E27FC236}">
                <a16:creationId xmlns:a16="http://schemas.microsoft.com/office/drawing/2014/main" id="{1B6C3DE4-3D0C-4FDE-8BD5-721D339AFBEE}"/>
              </a:ext>
            </a:extLst>
          </p:cNvPr>
          <p:cNvGrpSpPr/>
          <p:nvPr/>
        </p:nvGrpSpPr>
        <p:grpSpPr>
          <a:xfrm>
            <a:off x="5780446" y="2372258"/>
            <a:ext cx="306171" cy="4079081"/>
            <a:chOff x="5942914" y="2081213"/>
            <a:chExt cx="306171" cy="4079081"/>
          </a:xfrm>
        </p:grpSpPr>
        <p:cxnSp>
          <p:nvCxnSpPr>
            <p:cNvPr id="29" name="Straight Connector 28">
              <a:extLst>
                <a:ext uri="{FF2B5EF4-FFF2-40B4-BE49-F238E27FC236}">
                  <a16:creationId xmlns:a16="http://schemas.microsoft.com/office/drawing/2014/main" id="{BC99CBCD-75C8-422B-9163-23462E2744FE}"/>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3F5FF2-DAC5-49A9-B29A-9276214CDA54}"/>
                </a:ext>
              </a:extLst>
            </p:cNvPr>
            <p:cNvGrpSpPr/>
            <p:nvPr/>
          </p:nvGrpSpPr>
          <p:grpSpPr>
            <a:xfrm>
              <a:off x="5942914" y="3967299"/>
              <a:ext cx="306171" cy="306910"/>
              <a:chOff x="5937564" y="3833745"/>
              <a:chExt cx="306171" cy="306910"/>
            </a:xfrm>
          </p:grpSpPr>
          <p:sp>
            <p:nvSpPr>
              <p:cNvPr id="31" name="Freeform 94">
                <a:extLst>
                  <a:ext uri="{FF2B5EF4-FFF2-40B4-BE49-F238E27FC236}">
                    <a16:creationId xmlns:a16="http://schemas.microsoft.com/office/drawing/2014/main" id="{865C1CA8-DDC6-41AA-BC73-13EAA9861A39}"/>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2" name="Freeform 95">
                <a:extLst>
                  <a:ext uri="{FF2B5EF4-FFF2-40B4-BE49-F238E27FC236}">
                    <a16:creationId xmlns:a16="http://schemas.microsoft.com/office/drawing/2014/main" id="{8AF32120-C410-431A-9EBE-5358452DBDE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custDataLst>
      <p:tags r:id="rId2"/>
    </p:custDataLst>
    <p:extLst>
      <p:ext uri="{BB962C8B-B14F-4D97-AF65-F5344CB8AC3E}">
        <p14:creationId xmlns:p14="http://schemas.microsoft.com/office/powerpoint/2010/main" val="414412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B0127B-7E8D-4AB9-935E-9632D3097AAD}"/>
              </a:ext>
            </a:extLst>
          </p:cNvPr>
          <p:cNvGraphicFramePr>
            <a:graphicFrameLocks noChangeAspect="1"/>
          </p:cNvGraphicFramePr>
          <p:nvPr>
            <p:custDataLst>
              <p:tags r:id="rId3"/>
            </p:custDataLst>
            <p:extLst>
              <p:ext uri="{D42A27DB-BD31-4B8C-83A1-F6EECF244321}">
                <p14:modId xmlns:p14="http://schemas.microsoft.com/office/powerpoint/2010/main" val="413108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04" name="think-cell Slide" r:id="rId7" imgW="395" imgH="396" progId="TCLayout.ActiveDocument.1">
                  <p:embed/>
                </p:oleObj>
              </mc:Choice>
              <mc:Fallback>
                <p:oleObj name="think-cell Slide" r:id="rId7" imgW="395" imgH="396" progId="TCLayout.ActiveDocument.1">
                  <p:embed/>
                  <p:pic>
                    <p:nvPicPr>
                      <p:cNvPr id="4" name="Object 3" hidden="1">
                        <a:extLst>
                          <a:ext uri="{FF2B5EF4-FFF2-40B4-BE49-F238E27FC236}">
                            <a16:creationId xmlns:a16="http://schemas.microsoft.com/office/drawing/2014/main" id="{2CB0127B-7E8D-4AB9-935E-9632D3097AA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92B0B49-8DA9-4540-AE89-481D3F279F92}"/>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ee4pContent1"/>
          <p:cNvSpPr txBox="1"/>
          <p:nvPr/>
        </p:nvSpPr>
        <p:spPr>
          <a:xfrm>
            <a:off x="629400" y="2955599"/>
            <a:ext cx="499564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2400" dirty="0"/>
              <a:t>#17</a:t>
            </a:r>
          </a:p>
          <a:p>
            <a:r>
              <a:rPr lang="en-US" sz="2400" dirty="0"/>
              <a:t>#18</a:t>
            </a:r>
          </a:p>
          <a:p>
            <a:r>
              <a:rPr lang="en-US" sz="2400" dirty="0"/>
              <a:t>#20</a:t>
            </a:r>
          </a:p>
          <a:p>
            <a:r>
              <a:rPr lang="en-US" sz="2400" dirty="0"/>
              <a:t>#23-26</a:t>
            </a:r>
          </a:p>
          <a:p>
            <a:r>
              <a:rPr lang="en-US" sz="2400" dirty="0"/>
              <a:t>#28-33</a:t>
            </a:r>
          </a:p>
          <a:p>
            <a:r>
              <a:rPr lang="en-US" sz="2400" dirty="0"/>
              <a:t>#35-39</a:t>
            </a:r>
          </a:p>
          <a:p>
            <a:r>
              <a:rPr lang="en-US" sz="2400" dirty="0"/>
              <a:t>#41-50</a:t>
            </a:r>
            <a:endParaRPr lang="en-US" dirty="0">
              <a:latin typeface="+mn-lt"/>
            </a:endParaRPr>
          </a:p>
        </p:txBody>
      </p:sp>
      <p:sp>
        <p:nvSpPr>
          <p:cNvPr id="12" name="ee4pContent2"/>
          <p:cNvSpPr txBox="1"/>
          <p:nvPr/>
        </p:nvSpPr>
        <p:spPr>
          <a:xfrm>
            <a:off x="6567560" y="2955599"/>
            <a:ext cx="4995640" cy="2912400"/>
          </a:xfrm>
          <a:prstGeom prst="rect">
            <a:avLst/>
          </a:prstGeom>
          <a:ln cap="rnd">
            <a:noFill/>
          </a:ln>
        </p:spPr>
        <p:txBody>
          <a:bodyPr vert="horz" wrap="square" lIns="0" tIns="0" rIns="0" bIns="0" numCol="3"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2400" dirty="0"/>
              <a:t>#18</a:t>
            </a:r>
          </a:p>
          <a:p>
            <a:r>
              <a:rPr lang="en-US" sz="2400" dirty="0"/>
              <a:t>#20</a:t>
            </a:r>
          </a:p>
          <a:p>
            <a:r>
              <a:rPr lang="en-US" sz="2400" dirty="0"/>
              <a:t>#17</a:t>
            </a:r>
          </a:p>
          <a:p>
            <a:r>
              <a:rPr lang="en-US" sz="2400" dirty="0"/>
              <a:t>#28</a:t>
            </a:r>
          </a:p>
          <a:p>
            <a:r>
              <a:rPr lang="en-US" sz="2400" dirty="0"/>
              <a:t>#31</a:t>
            </a:r>
          </a:p>
          <a:p>
            <a:r>
              <a:rPr lang="en-US" sz="2400" dirty="0"/>
              <a:t>#23</a:t>
            </a:r>
          </a:p>
          <a:p>
            <a:r>
              <a:rPr lang="en-US" sz="2400" dirty="0"/>
              <a:t>#26</a:t>
            </a:r>
          </a:p>
          <a:p>
            <a:r>
              <a:rPr lang="en-US" sz="2400" dirty="0"/>
              <a:t>#25</a:t>
            </a:r>
          </a:p>
          <a:p>
            <a:r>
              <a:rPr lang="en-US" sz="2400" dirty="0"/>
              <a:t>#24</a:t>
            </a:r>
          </a:p>
          <a:p>
            <a:r>
              <a:rPr lang="en-US" sz="2400" dirty="0"/>
              <a:t>#32</a:t>
            </a:r>
          </a:p>
          <a:p>
            <a:r>
              <a:rPr lang="en-US" sz="2400" dirty="0"/>
              <a:t>#41</a:t>
            </a:r>
          </a:p>
          <a:p>
            <a:r>
              <a:rPr lang="en-US" sz="2400" dirty="0"/>
              <a:t>#35</a:t>
            </a:r>
          </a:p>
          <a:p>
            <a:r>
              <a:rPr lang="en-US" sz="2400" dirty="0"/>
              <a:t>#29</a:t>
            </a:r>
          </a:p>
          <a:p>
            <a:r>
              <a:rPr lang="en-US" sz="2400" dirty="0"/>
              <a:t>#30</a:t>
            </a:r>
          </a:p>
          <a:p>
            <a:r>
              <a:rPr lang="en-US" sz="2400" dirty="0"/>
              <a:t>#36</a:t>
            </a:r>
          </a:p>
          <a:p>
            <a:r>
              <a:rPr lang="en-US" sz="2400" dirty="0"/>
              <a:t>#33</a:t>
            </a:r>
          </a:p>
          <a:p>
            <a:r>
              <a:rPr lang="en-US" sz="2400" dirty="0"/>
              <a:t>#43</a:t>
            </a:r>
          </a:p>
          <a:p>
            <a:r>
              <a:rPr lang="en-US" sz="2400" dirty="0"/>
              <a:t>#50</a:t>
            </a:r>
          </a:p>
          <a:p>
            <a:r>
              <a:rPr lang="en-US" sz="2400" dirty="0"/>
              <a:t>#42</a:t>
            </a:r>
          </a:p>
          <a:p>
            <a:r>
              <a:rPr lang="en-US" sz="2400" dirty="0"/>
              <a:t>#39</a:t>
            </a:r>
          </a:p>
          <a:p>
            <a:r>
              <a:rPr lang="en-US" sz="2400" dirty="0"/>
              <a:t>#44</a:t>
            </a:r>
          </a:p>
          <a:p>
            <a:r>
              <a:rPr lang="en-US" sz="2400" dirty="0"/>
              <a:t>#37</a:t>
            </a:r>
          </a:p>
          <a:p>
            <a:r>
              <a:rPr lang="en-US" sz="2400" dirty="0"/>
              <a:t>#45</a:t>
            </a:r>
          </a:p>
          <a:p>
            <a:r>
              <a:rPr lang="en-US" sz="2400" dirty="0"/>
              <a:t>#46</a:t>
            </a:r>
          </a:p>
          <a:p>
            <a:r>
              <a:rPr lang="en-US" sz="2400" dirty="0"/>
              <a:t>#47</a:t>
            </a:r>
          </a:p>
          <a:p>
            <a:r>
              <a:rPr lang="en-US" sz="2400" dirty="0"/>
              <a:t>#38</a:t>
            </a:r>
          </a:p>
          <a:p>
            <a:r>
              <a:rPr lang="en-US" sz="2400" dirty="0"/>
              <a:t>#48</a:t>
            </a:r>
          </a:p>
          <a:p>
            <a:r>
              <a:rPr lang="en-US" sz="2400" dirty="0"/>
              <a:t>#49</a:t>
            </a:r>
          </a:p>
        </p:txBody>
      </p:sp>
      <p:sp>
        <p:nvSpPr>
          <p:cNvPr id="9" name="ee4pHeader1"/>
          <p:cNvSpPr txBox="1"/>
          <p:nvPr/>
        </p:nvSpPr>
        <p:spPr>
          <a:xfrm>
            <a:off x="629400" y="2077151"/>
            <a:ext cx="4995640" cy="759600"/>
          </a:xfrm>
          <a:prstGeom prst="rect">
            <a:avLst/>
          </a:prstGeom>
          <a:noFill/>
          <a:ln cap="rnd">
            <a:noFill/>
          </a:ln>
        </p:spPr>
        <p:txBody>
          <a:bodyPr wrap="square" lIns="0" tIns="0" rIns="0" bIns="0" rtlCol="0" anchor="t">
            <a:noAutofit/>
          </a:bodyPr>
          <a:lstStyle/>
          <a:p>
            <a:pPr marL="0" lvl="3"/>
            <a:r>
              <a:rPr lang="en-US" sz="2400" dirty="0">
                <a:solidFill>
                  <a:schemeClr val="tx2"/>
                </a:solidFill>
              </a:rPr>
              <a:t>Round 3 Group:</a:t>
            </a:r>
          </a:p>
          <a:p>
            <a:pPr marL="0" lvl="3"/>
            <a:r>
              <a:rPr lang="en-US" dirty="0">
                <a:solidFill>
                  <a:schemeClr val="tx2"/>
                </a:solidFill>
              </a:rPr>
              <a:t>Top 28 CSR teams not in championship field</a:t>
            </a:r>
            <a:endParaRPr lang="en-US" sz="2400" dirty="0">
              <a:solidFill>
                <a:schemeClr val="tx2"/>
              </a:solidFill>
            </a:endParaRPr>
          </a:p>
        </p:txBody>
      </p:sp>
      <p:sp>
        <p:nvSpPr>
          <p:cNvPr id="10" name="ee4pHeader2"/>
          <p:cNvSpPr txBox="1"/>
          <p:nvPr/>
        </p:nvSpPr>
        <p:spPr>
          <a:xfrm>
            <a:off x="6567559" y="2077151"/>
            <a:ext cx="5264969" cy="759600"/>
          </a:xfrm>
          <a:prstGeom prst="rect">
            <a:avLst/>
          </a:prstGeom>
          <a:noFill/>
          <a:ln cap="rnd">
            <a:noFill/>
          </a:ln>
        </p:spPr>
        <p:txBody>
          <a:bodyPr wrap="square" lIns="0" tIns="0" rIns="0" bIns="0" rtlCol="0" anchor="t">
            <a:noAutofit/>
          </a:bodyPr>
          <a:lstStyle/>
          <a:p>
            <a:pPr marL="0" lvl="3"/>
            <a:r>
              <a:rPr lang="en-US" sz="2400" dirty="0">
                <a:solidFill>
                  <a:schemeClr val="tx2"/>
                </a:solidFill>
              </a:rPr>
              <a:t>Average order of R3 group teams by selection committee</a:t>
            </a:r>
          </a:p>
        </p:txBody>
      </p:sp>
      <p:sp>
        <p:nvSpPr>
          <p:cNvPr id="2" name="Title 1"/>
          <p:cNvSpPr>
            <a:spLocks noGrp="1"/>
          </p:cNvSpPr>
          <p:nvPr>
            <p:ph type="title"/>
          </p:nvPr>
        </p:nvSpPr>
        <p:spPr/>
        <p:txBody>
          <a:bodyPr/>
          <a:lstStyle/>
          <a:p>
            <a:r>
              <a:rPr lang="en-US" dirty="0"/>
              <a:t>R3: Group of teams are ordered by committee</a:t>
            </a:r>
          </a:p>
        </p:txBody>
      </p:sp>
      <p:grpSp>
        <p:nvGrpSpPr>
          <p:cNvPr id="23" name="Group 22">
            <a:extLst>
              <a:ext uri="{FF2B5EF4-FFF2-40B4-BE49-F238E27FC236}">
                <a16:creationId xmlns:a16="http://schemas.microsoft.com/office/drawing/2014/main" id="{0C837891-B2F1-4008-A9FA-536448CA9A90}"/>
              </a:ext>
            </a:extLst>
          </p:cNvPr>
          <p:cNvGrpSpPr/>
          <p:nvPr/>
        </p:nvGrpSpPr>
        <p:grpSpPr>
          <a:xfrm>
            <a:off x="5780446" y="2372258"/>
            <a:ext cx="306171" cy="4079081"/>
            <a:chOff x="5942914" y="2081213"/>
            <a:chExt cx="306171" cy="4079081"/>
          </a:xfrm>
        </p:grpSpPr>
        <p:cxnSp>
          <p:nvCxnSpPr>
            <p:cNvPr id="24" name="Straight Connector 23">
              <a:extLst>
                <a:ext uri="{FF2B5EF4-FFF2-40B4-BE49-F238E27FC236}">
                  <a16:creationId xmlns:a16="http://schemas.microsoft.com/office/drawing/2014/main" id="{CFFB37A8-C9F1-456B-9159-51931AF61101}"/>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B4EA945F-6D68-4BC1-A1AB-D64123FAA2A8}"/>
                </a:ext>
              </a:extLst>
            </p:cNvPr>
            <p:cNvGrpSpPr/>
            <p:nvPr/>
          </p:nvGrpSpPr>
          <p:grpSpPr>
            <a:xfrm>
              <a:off x="5942914" y="3967299"/>
              <a:ext cx="306171" cy="306910"/>
              <a:chOff x="5937564" y="3833745"/>
              <a:chExt cx="306171" cy="306910"/>
            </a:xfrm>
          </p:grpSpPr>
          <p:sp>
            <p:nvSpPr>
              <p:cNvPr id="26" name="Freeform 94">
                <a:extLst>
                  <a:ext uri="{FF2B5EF4-FFF2-40B4-BE49-F238E27FC236}">
                    <a16:creationId xmlns:a16="http://schemas.microsoft.com/office/drawing/2014/main" id="{6F9FE3D6-BEE9-4A3F-AC51-C9E5439D9DB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7" name="Freeform 95">
                <a:extLst>
                  <a:ext uri="{FF2B5EF4-FFF2-40B4-BE49-F238E27FC236}">
                    <a16:creationId xmlns:a16="http://schemas.microsoft.com/office/drawing/2014/main" id="{87091ECA-976F-4A5A-B866-3A0BBB25F70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custDataLst>
      <p:tags r:id="rId2"/>
    </p:custDataLst>
    <p:extLst>
      <p:ext uri="{BB962C8B-B14F-4D97-AF65-F5344CB8AC3E}">
        <p14:creationId xmlns:p14="http://schemas.microsoft.com/office/powerpoint/2010/main" val="780332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B0127B-7E8D-4AB9-935E-9632D3097AAD}"/>
              </a:ext>
            </a:extLst>
          </p:cNvPr>
          <p:cNvGraphicFramePr>
            <a:graphicFrameLocks noChangeAspect="1"/>
          </p:cNvGraphicFramePr>
          <p:nvPr>
            <p:custDataLst>
              <p:tags r:id="rId3"/>
            </p:custDataLst>
            <p:extLst>
              <p:ext uri="{D42A27DB-BD31-4B8C-83A1-F6EECF244321}">
                <p14:modId xmlns:p14="http://schemas.microsoft.com/office/powerpoint/2010/main" val="161779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8" name="think-cell Slide" r:id="rId7" imgW="395" imgH="396" progId="TCLayout.ActiveDocument.1">
                  <p:embed/>
                </p:oleObj>
              </mc:Choice>
              <mc:Fallback>
                <p:oleObj name="think-cell Slide" r:id="rId7" imgW="395" imgH="396" progId="TCLayout.ActiveDocument.1">
                  <p:embed/>
                  <p:pic>
                    <p:nvPicPr>
                      <p:cNvPr id="4" name="Object 3" hidden="1">
                        <a:extLst>
                          <a:ext uri="{FF2B5EF4-FFF2-40B4-BE49-F238E27FC236}">
                            <a16:creationId xmlns:a16="http://schemas.microsoft.com/office/drawing/2014/main" id="{2CB0127B-7E8D-4AB9-935E-9632D3097AA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92B0B49-8DA9-4540-AE89-481D3F279F92}"/>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ee4pContent1"/>
          <p:cNvSpPr txBox="1"/>
          <p:nvPr/>
        </p:nvSpPr>
        <p:spPr>
          <a:xfrm>
            <a:off x="629400" y="2955599"/>
            <a:ext cx="4995640" cy="2912400"/>
          </a:xfrm>
          <a:prstGeom prst="rect">
            <a:avLst/>
          </a:prstGeom>
          <a:ln cap="rnd">
            <a:noFill/>
          </a:ln>
        </p:spPr>
        <p:txBody>
          <a:bodyPr vert="horz" wrap="square" lIns="0" tIns="0" rIns="0" bIns="0" numCol="3"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2400" dirty="0"/>
              <a:t>#18</a:t>
            </a:r>
          </a:p>
          <a:p>
            <a:r>
              <a:rPr lang="en-US" sz="2400" dirty="0"/>
              <a:t>#20</a:t>
            </a:r>
          </a:p>
          <a:p>
            <a:r>
              <a:rPr lang="en-US" sz="2400" dirty="0"/>
              <a:t>#17</a:t>
            </a:r>
          </a:p>
          <a:p>
            <a:r>
              <a:rPr lang="en-US" sz="2400" dirty="0"/>
              <a:t>#28</a:t>
            </a:r>
          </a:p>
          <a:p>
            <a:r>
              <a:rPr lang="en-US" sz="2400" dirty="0"/>
              <a:t>#31</a:t>
            </a:r>
          </a:p>
          <a:p>
            <a:r>
              <a:rPr lang="en-US" sz="2400" dirty="0"/>
              <a:t>#23</a:t>
            </a:r>
          </a:p>
          <a:p>
            <a:r>
              <a:rPr lang="en-US" sz="2400" dirty="0"/>
              <a:t>#26</a:t>
            </a:r>
          </a:p>
          <a:p>
            <a:r>
              <a:rPr lang="en-US" sz="2400" dirty="0"/>
              <a:t>#25</a:t>
            </a:r>
          </a:p>
          <a:p>
            <a:r>
              <a:rPr lang="en-US" sz="2400" dirty="0"/>
              <a:t>#24</a:t>
            </a:r>
          </a:p>
          <a:p>
            <a:r>
              <a:rPr lang="en-US" sz="2400" dirty="0"/>
              <a:t>#32</a:t>
            </a:r>
          </a:p>
          <a:p>
            <a:r>
              <a:rPr lang="en-US" sz="2400" dirty="0"/>
              <a:t>#41</a:t>
            </a:r>
          </a:p>
          <a:p>
            <a:r>
              <a:rPr lang="en-US" sz="2400" dirty="0"/>
              <a:t>#35</a:t>
            </a:r>
          </a:p>
          <a:p>
            <a:r>
              <a:rPr lang="en-US" sz="2400" dirty="0"/>
              <a:t>#29</a:t>
            </a:r>
          </a:p>
          <a:p>
            <a:r>
              <a:rPr lang="en-US" sz="2400" dirty="0"/>
              <a:t>#30</a:t>
            </a:r>
          </a:p>
          <a:p>
            <a:r>
              <a:rPr lang="en-US" sz="2400" dirty="0"/>
              <a:t>#36</a:t>
            </a:r>
          </a:p>
          <a:p>
            <a:r>
              <a:rPr lang="en-US" sz="2400" dirty="0"/>
              <a:t>#33</a:t>
            </a:r>
          </a:p>
          <a:p>
            <a:r>
              <a:rPr lang="en-US" sz="2400" dirty="0"/>
              <a:t>#43</a:t>
            </a:r>
          </a:p>
          <a:p>
            <a:r>
              <a:rPr lang="en-US" sz="2400" dirty="0"/>
              <a:t>#50</a:t>
            </a:r>
          </a:p>
          <a:p>
            <a:r>
              <a:rPr lang="en-US" sz="2400" dirty="0"/>
              <a:t>#42</a:t>
            </a:r>
          </a:p>
          <a:p>
            <a:r>
              <a:rPr lang="en-US" sz="2400" dirty="0"/>
              <a:t>#39</a:t>
            </a:r>
          </a:p>
          <a:p>
            <a:r>
              <a:rPr lang="en-US" sz="2400" dirty="0"/>
              <a:t>#44</a:t>
            </a:r>
          </a:p>
          <a:p>
            <a:r>
              <a:rPr lang="en-US" sz="2400" dirty="0"/>
              <a:t>#37</a:t>
            </a:r>
          </a:p>
          <a:p>
            <a:r>
              <a:rPr lang="en-US" sz="2400" dirty="0"/>
              <a:t>#45</a:t>
            </a:r>
          </a:p>
          <a:p>
            <a:r>
              <a:rPr lang="en-US" sz="2400" dirty="0"/>
              <a:t>#46</a:t>
            </a:r>
          </a:p>
          <a:p>
            <a:r>
              <a:rPr lang="en-US" sz="2400" dirty="0"/>
              <a:t>#47</a:t>
            </a:r>
          </a:p>
          <a:p>
            <a:r>
              <a:rPr lang="en-US" sz="2400" dirty="0"/>
              <a:t>#38</a:t>
            </a:r>
          </a:p>
          <a:p>
            <a:r>
              <a:rPr lang="en-US" sz="2400" dirty="0"/>
              <a:t>#48</a:t>
            </a:r>
          </a:p>
          <a:p>
            <a:r>
              <a:rPr lang="en-US" sz="2400" dirty="0"/>
              <a:t>#49</a:t>
            </a:r>
          </a:p>
        </p:txBody>
      </p:sp>
      <p:sp>
        <p:nvSpPr>
          <p:cNvPr id="12" name="ee4pContent2"/>
          <p:cNvSpPr txBox="1"/>
          <p:nvPr/>
        </p:nvSpPr>
        <p:spPr>
          <a:xfrm>
            <a:off x="6567560" y="2955599"/>
            <a:ext cx="4995640" cy="2912400"/>
          </a:xfrm>
          <a:prstGeom prst="rect">
            <a:avLst/>
          </a:prstGeom>
          <a:ln cap="rnd">
            <a:noFill/>
          </a:ln>
        </p:spPr>
        <p:txBody>
          <a:bodyPr vert="horz" wrap="square" lIns="0" tIns="0" rIns="0" bIns="0" numCol="3"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2400" dirty="0">
                <a:solidFill>
                  <a:srgbClr val="29BA74"/>
                </a:solidFill>
              </a:rPr>
              <a:t>#18</a:t>
            </a:r>
          </a:p>
          <a:p>
            <a:r>
              <a:rPr lang="en-US" sz="2400" dirty="0">
                <a:solidFill>
                  <a:srgbClr val="29BA74"/>
                </a:solidFill>
              </a:rPr>
              <a:t>#20</a:t>
            </a:r>
          </a:p>
          <a:p>
            <a:r>
              <a:rPr lang="en-US" sz="2400" dirty="0">
                <a:solidFill>
                  <a:srgbClr val="29BA74"/>
                </a:solidFill>
              </a:rPr>
              <a:t>#17</a:t>
            </a:r>
          </a:p>
          <a:p>
            <a:r>
              <a:rPr lang="en-US" sz="2400" dirty="0">
                <a:solidFill>
                  <a:srgbClr val="29BA74"/>
                </a:solidFill>
              </a:rPr>
              <a:t>#28</a:t>
            </a:r>
          </a:p>
          <a:p>
            <a:r>
              <a:rPr lang="en-US" sz="2400" dirty="0">
                <a:solidFill>
                  <a:srgbClr val="29BA74"/>
                </a:solidFill>
              </a:rPr>
              <a:t>#31</a:t>
            </a:r>
          </a:p>
          <a:p>
            <a:r>
              <a:rPr lang="en-US" sz="2400" dirty="0">
                <a:solidFill>
                  <a:srgbClr val="29BA74"/>
                </a:solidFill>
              </a:rPr>
              <a:t>#23</a:t>
            </a:r>
          </a:p>
          <a:p>
            <a:r>
              <a:rPr lang="en-US" sz="2400" dirty="0">
                <a:solidFill>
                  <a:srgbClr val="29BA74"/>
                </a:solidFill>
              </a:rPr>
              <a:t>#26</a:t>
            </a:r>
          </a:p>
          <a:p>
            <a:r>
              <a:rPr lang="en-US" sz="2400" dirty="0">
                <a:solidFill>
                  <a:srgbClr val="29BA74"/>
                </a:solidFill>
              </a:rPr>
              <a:t>#25</a:t>
            </a:r>
          </a:p>
          <a:p>
            <a:r>
              <a:rPr lang="en-US" sz="2400" dirty="0">
                <a:solidFill>
                  <a:srgbClr val="E71C57"/>
                </a:solidFill>
              </a:rPr>
              <a:t>#24</a:t>
            </a:r>
          </a:p>
          <a:p>
            <a:r>
              <a:rPr lang="en-US" sz="2400" dirty="0">
                <a:solidFill>
                  <a:srgbClr val="E71C57"/>
                </a:solidFill>
              </a:rPr>
              <a:t>#32</a:t>
            </a:r>
          </a:p>
          <a:p>
            <a:r>
              <a:rPr lang="en-US" sz="2400" dirty="0">
                <a:solidFill>
                  <a:srgbClr val="E71C57"/>
                </a:solidFill>
              </a:rPr>
              <a:t>#41</a:t>
            </a:r>
          </a:p>
          <a:p>
            <a:r>
              <a:rPr lang="en-US" sz="2400" dirty="0">
                <a:solidFill>
                  <a:srgbClr val="E71C57"/>
                </a:solidFill>
              </a:rPr>
              <a:t>#35</a:t>
            </a:r>
          </a:p>
          <a:p>
            <a:r>
              <a:rPr lang="en-US" sz="2400" dirty="0">
                <a:solidFill>
                  <a:srgbClr val="E71C57"/>
                </a:solidFill>
              </a:rPr>
              <a:t>#29</a:t>
            </a:r>
          </a:p>
          <a:p>
            <a:r>
              <a:rPr lang="en-US" sz="2400" dirty="0">
                <a:solidFill>
                  <a:srgbClr val="E71C57"/>
                </a:solidFill>
              </a:rPr>
              <a:t>#30</a:t>
            </a:r>
          </a:p>
          <a:p>
            <a:r>
              <a:rPr lang="en-US" sz="2400" dirty="0">
                <a:solidFill>
                  <a:srgbClr val="E71C57"/>
                </a:solidFill>
              </a:rPr>
              <a:t>#36</a:t>
            </a:r>
          </a:p>
          <a:p>
            <a:r>
              <a:rPr lang="en-US" sz="2400" dirty="0">
                <a:solidFill>
                  <a:srgbClr val="E71C57"/>
                </a:solidFill>
              </a:rPr>
              <a:t>#33</a:t>
            </a:r>
          </a:p>
          <a:p>
            <a:r>
              <a:rPr lang="en-US" sz="2400" dirty="0">
                <a:solidFill>
                  <a:srgbClr val="E71C57"/>
                </a:solidFill>
              </a:rPr>
              <a:t>#43</a:t>
            </a:r>
          </a:p>
          <a:p>
            <a:r>
              <a:rPr lang="en-US" sz="2400" dirty="0">
                <a:solidFill>
                  <a:srgbClr val="E71C57"/>
                </a:solidFill>
              </a:rPr>
              <a:t>#50</a:t>
            </a:r>
          </a:p>
          <a:p>
            <a:r>
              <a:rPr lang="en-US" sz="2400" dirty="0">
                <a:solidFill>
                  <a:srgbClr val="E71C57"/>
                </a:solidFill>
              </a:rPr>
              <a:t>#42</a:t>
            </a:r>
          </a:p>
          <a:p>
            <a:r>
              <a:rPr lang="en-US" sz="2400" dirty="0">
                <a:solidFill>
                  <a:srgbClr val="E71C57"/>
                </a:solidFill>
              </a:rPr>
              <a:t>#39</a:t>
            </a:r>
          </a:p>
          <a:p>
            <a:r>
              <a:rPr lang="en-US" sz="2400" dirty="0">
                <a:solidFill>
                  <a:srgbClr val="E71C57"/>
                </a:solidFill>
              </a:rPr>
              <a:t>#44</a:t>
            </a:r>
          </a:p>
          <a:p>
            <a:r>
              <a:rPr lang="en-US" sz="2400" dirty="0">
                <a:solidFill>
                  <a:srgbClr val="E71C57"/>
                </a:solidFill>
              </a:rPr>
              <a:t>#37</a:t>
            </a:r>
          </a:p>
          <a:p>
            <a:r>
              <a:rPr lang="en-US" sz="2400" dirty="0">
                <a:solidFill>
                  <a:srgbClr val="E71C57"/>
                </a:solidFill>
              </a:rPr>
              <a:t>#45</a:t>
            </a:r>
          </a:p>
          <a:p>
            <a:r>
              <a:rPr lang="en-US" sz="2400" dirty="0">
                <a:solidFill>
                  <a:srgbClr val="E71C57"/>
                </a:solidFill>
              </a:rPr>
              <a:t>#46</a:t>
            </a:r>
          </a:p>
          <a:p>
            <a:r>
              <a:rPr lang="en-US" sz="2400" dirty="0">
                <a:solidFill>
                  <a:srgbClr val="E71C57"/>
                </a:solidFill>
              </a:rPr>
              <a:t>#47</a:t>
            </a:r>
          </a:p>
          <a:p>
            <a:r>
              <a:rPr lang="en-US" sz="2400" dirty="0">
                <a:solidFill>
                  <a:srgbClr val="E71C57"/>
                </a:solidFill>
              </a:rPr>
              <a:t>#38</a:t>
            </a:r>
          </a:p>
          <a:p>
            <a:r>
              <a:rPr lang="en-US" sz="2400" dirty="0">
                <a:solidFill>
                  <a:srgbClr val="E71C57"/>
                </a:solidFill>
              </a:rPr>
              <a:t>#48</a:t>
            </a:r>
          </a:p>
          <a:p>
            <a:r>
              <a:rPr lang="en-US" sz="2400" dirty="0">
                <a:solidFill>
                  <a:srgbClr val="E71C57"/>
                </a:solidFill>
              </a:rPr>
              <a:t>#49</a:t>
            </a:r>
          </a:p>
        </p:txBody>
      </p:sp>
      <p:sp>
        <p:nvSpPr>
          <p:cNvPr id="9" name="ee4pHeader1"/>
          <p:cNvSpPr txBox="1"/>
          <p:nvPr/>
        </p:nvSpPr>
        <p:spPr>
          <a:xfrm>
            <a:off x="629400" y="2077151"/>
            <a:ext cx="5238644" cy="759600"/>
          </a:xfrm>
          <a:prstGeom prst="rect">
            <a:avLst/>
          </a:prstGeom>
          <a:noFill/>
          <a:ln cap="rnd">
            <a:noFill/>
          </a:ln>
        </p:spPr>
        <p:txBody>
          <a:bodyPr wrap="square" lIns="0" tIns="0" rIns="0" bIns="0" rtlCol="0" anchor="t">
            <a:noAutofit/>
          </a:bodyPr>
          <a:lstStyle/>
          <a:p>
            <a:pPr marL="0" lvl="3"/>
            <a:r>
              <a:rPr lang="en-US" sz="2400" dirty="0">
                <a:solidFill>
                  <a:schemeClr val="tx2"/>
                </a:solidFill>
              </a:rPr>
              <a:t>Average order of R3 group teams by selection committee</a:t>
            </a:r>
          </a:p>
        </p:txBody>
      </p:sp>
      <p:sp>
        <p:nvSpPr>
          <p:cNvPr id="10" name="ee4pHeader2"/>
          <p:cNvSpPr txBox="1"/>
          <p:nvPr/>
        </p:nvSpPr>
        <p:spPr>
          <a:xfrm>
            <a:off x="6567559" y="2077151"/>
            <a:ext cx="5334550" cy="759600"/>
          </a:xfrm>
          <a:prstGeom prst="rect">
            <a:avLst/>
          </a:prstGeom>
          <a:noFill/>
          <a:ln cap="rnd">
            <a:noFill/>
          </a:ln>
        </p:spPr>
        <p:txBody>
          <a:bodyPr wrap="square" lIns="0" tIns="0" rIns="0" bIns="0" rtlCol="0" anchor="t">
            <a:noAutofit/>
          </a:bodyPr>
          <a:lstStyle/>
          <a:p>
            <a:pPr marL="0" lvl="3"/>
            <a:r>
              <a:rPr lang="en-US" sz="2400" dirty="0">
                <a:solidFill>
                  <a:schemeClr val="tx2"/>
                </a:solidFill>
              </a:rPr>
              <a:t>Top 1/3 advance to championship field </a:t>
            </a:r>
          </a:p>
          <a:p>
            <a:pPr marL="0" lvl="3"/>
            <a:r>
              <a:rPr lang="en-US" dirty="0">
                <a:solidFill>
                  <a:schemeClr val="tx2"/>
                </a:solidFill>
              </a:rPr>
              <a:t>Remainder returned to field</a:t>
            </a:r>
          </a:p>
        </p:txBody>
      </p:sp>
      <p:sp>
        <p:nvSpPr>
          <p:cNvPr id="2" name="Title 1"/>
          <p:cNvSpPr>
            <a:spLocks noGrp="1"/>
          </p:cNvSpPr>
          <p:nvPr>
            <p:ph type="title"/>
          </p:nvPr>
        </p:nvSpPr>
        <p:spPr>
          <a:xfrm>
            <a:off x="496965" y="622800"/>
            <a:ext cx="11216300" cy="941796"/>
          </a:xfrm>
        </p:spPr>
        <p:txBody>
          <a:bodyPr/>
          <a:lstStyle/>
          <a:p>
            <a:r>
              <a:rPr lang="en-US" dirty="0"/>
              <a:t>R3: Highest ordered teams advance to championship field</a:t>
            </a:r>
          </a:p>
        </p:txBody>
      </p:sp>
      <p:grpSp>
        <p:nvGrpSpPr>
          <p:cNvPr id="18" name="Group 17">
            <a:extLst>
              <a:ext uri="{FF2B5EF4-FFF2-40B4-BE49-F238E27FC236}">
                <a16:creationId xmlns:a16="http://schemas.microsoft.com/office/drawing/2014/main" id="{9643C74A-7F4E-4F4E-8168-79270BCE8F17}"/>
              </a:ext>
            </a:extLst>
          </p:cNvPr>
          <p:cNvGrpSpPr/>
          <p:nvPr/>
        </p:nvGrpSpPr>
        <p:grpSpPr>
          <a:xfrm>
            <a:off x="5780446" y="2372258"/>
            <a:ext cx="306171" cy="4079081"/>
            <a:chOff x="5942914" y="2081213"/>
            <a:chExt cx="306171" cy="4079081"/>
          </a:xfrm>
        </p:grpSpPr>
        <p:cxnSp>
          <p:nvCxnSpPr>
            <p:cNvPr id="19" name="Straight Connector 18">
              <a:extLst>
                <a:ext uri="{FF2B5EF4-FFF2-40B4-BE49-F238E27FC236}">
                  <a16:creationId xmlns:a16="http://schemas.microsoft.com/office/drawing/2014/main" id="{509D09B5-5474-4A09-92F1-2B20A62169C3}"/>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1CE93A39-1100-4811-924B-8BADD5479507}"/>
                </a:ext>
              </a:extLst>
            </p:cNvPr>
            <p:cNvGrpSpPr/>
            <p:nvPr/>
          </p:nvGrpSpPr>
          <p:grpSpPr>
            <a:xfrm>
              <a:off x="5942914" y="3967299"/>
              <a:ext cx="306171" cy="306910"/>
              <a:chOff x="5937564" y="3833745"/>
              <a:chExt cx="306171" cy="306910"/>
            </a:xfrm>
          </p:grpSpPr>
          <p:sp>
            <p:nvSpPr>
              <p:cNvPr id="21" name="Freeform 94">
                <a:extLst>
                  <a:ext uri="{FF2B5EF4-FFF2-40B4-BE49-F238E27FC236}">
                    <a16:creationId xmlns:a16="http://schemas.microsoft.com/office/drawing/2014/main" id="{8BF86C74-1068-4F97-AFFA-0D8AA5EB75C9}"/>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2" name="Freeform 95">
                <a:extLst>
                  <a:ext uri="{FF2B5EF4-FFF2-40B4-BE49-F238E27FC236}">
                    <a16:creationId xmlns:a16="http://schemas.microsoft.com/office/drawing/2014/main" id="{33BCBDD7-160A-4D5C-8BDD-50D317B8371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custDataLst>
      <p:tags r:id="rId2"/>
    </p:custDataLst>
    <p:extLst>
      <p:ext uri="{BB962C8B-B14F-4D97-AF65-F5344CB8AC3E}">
        <p14:creationId xmlns:p14="http://schemas.microsoft.com/office/powerpoint/2010/main" val="2300596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79D5B2-6D2D-4095-801B-D9DB0A8CCA0B}"/>
              </a:ext>
            </a:extLst>
          </p:cNvPr>
          <p:cNvGraphicFramePr>
            <a:graphicFrameLocks noChangeAspect="1"/>
          </p:cNvGraphicFramePr>
          <p:nvPr>
            <p:custDataLst>
              <p:tags r:id="rId2"/>
            </p:custDataLst>
            <p:extLst>
              <p:ext uri="{D42A27DB-BD31-4B8C-83A1-F6EECF244321}">
                <p14:modId xmlns:p14="http://schemas.microsoft.com/office/powerpoint/2010/main" val="347084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85"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7704172-7323-43E2-B115-9F3BB1D2CB0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200" cy="941796"/>
          </a:xfrm>
        </p:spPr>
        <p:txBody>
          <a:bodyPr/>
          <a:lstStyle/>
          <a:p>
            <a:r>
              <a:rPr lang="en-US" dirty="0"/>
              <a:t>Committee votes for teams that should be unquestionably be in the national's field</a:t>
            </a:r>
          </a:p>
        </p:txBody>
      </p:sp>
      <p:cxnSp>
        <p:nvCxnSpPr>
          <p:cNvPr id="9" name="AutoShape 2">
            <a:extLst>
              <a:ext uri="{FF2B5EF4-FFF2-40B4-BE49-F238E27FC236}">
                <a16:creationId xmlns:a16="http://schemas.microsoft.com/office/drawing/2014/main" id="{B17510CA-CBC4-47D6-BA35-F42318044081}"/>
              </a:ext>
            </a:extLst>
          </p:cNvPr>
          <p:cNvCxnSpPr>
            <a:cxnSpLocks noChangeShapeType="1"/>
            <a:stCxn id="15" idx="0"/>
          </p:cNvCxnSpPr>
          <p:nvPr/>
        </p:nvCxnSpPr>
        <p:spPr bwMode="auto">
          <a:xfrm rot="5400000" flipH="1" flipV="1">
            <a:off x="5543236" y="3366867"/>
            <a:ext cx="796190" cy="309339"/>
          </a:xfrm>
          <a:prstGeom prst="bentConnector3">
            <a:avLst>
              <a:gd name="adj1" fmla="val 50000"/>
            </a:avLst>
          </a:prstGeom>
          <a:noFill/>
          <a:ln w="19050" cap="rnd">
            <a:solidFill>
              <a:schemeClr val="tx2"/>
            </a:solidFill>
            <a:round/>
            <a:headEnd/>
            <a:tailEnd/>
          </a:ln>
        </p:spPr>
      </p:cxnSp>
      <p:cxnSp>
        <p:nvCxnSpPr>
          <p:cNvPr id="10" name="AutoShape 3">
            <a:extLst>
              <a:ext uri="{FF2B5EF4-FFF2-40B4-BE49-F238E27FC236}">
                <a16:creationId xmlns:a16="http://schemas.microsoft.com/office/drawing/2014/main" id="{5316C4B2-1609-4854-9072-8425C323BA21}"/>
              </a:ext>
            </a:extLst>
          </p:cNvPr>
          <p:cNvCxnSpPr>
            <a:cxnSpLocks noChangeShapeType="1"/>
          </p:cNvCxnSpPr>
          <p:nvPr/>
        </p:nvCxnSpPr>
        <p:spPr bwMode="auto">
          <a:xfrm rot="16200000" flipV="1">
            <a:off x="7609331" y="1691605"/>
            <a:ext cx="795528" cy="3822192"/>
          </a:xfrm>
          <a:prstGeom prst="bentConnector3">
            <a:avLst>
              <a:gd name="adj1" fmla="val 59034"/>
            </a:avLst>
          </a:prstGeom>
          <a:noFill/>
          <a:ln w="19050" cap="rnd">
            <a:solidFill>
              <a:schemeClr val="tx2"/>
            </a:solidFill>
            <a:round/>
            <a:headEnd/>
            <a:tailEnd/>
          </a:ln>
        </p:spPr>
      </p:cxnSp>
      <p:cxnSp>
        <p:nvCxnSpPr>
          <p:cNvPr id="11" name="AutoShape 4">
            <a:extLst>
              <a:ext uri="{FF2B5EF4-FFF2-40B4-BE49-F238E27FC236}">
                <a16:creationId xmlns:a16="http://schemas.microsoft.com/office/drawing/2014/main" id="{98FC2723-41D1-478C-92D6-8C5AD475A853}"/>
              </a:ext>
            </a:extLst>
          </p:cNvPr>
          <p:cNvCxnSpPr>
            <a:cxnSpLocks noChangeShapeType="1"/>
            <a:stCxn id="25" idx="1"/>
          </p:cNvCxnSpPr>
          <p:nvPr/>
        </p:nvCxnSpPr>
        <p:spPr bwMode="auto">
          <a:xfrm rot="10800000">
            <a:off x="4334942" y="4552051"/>
            <a:ext cx="179754" cy="487362"/>
          </a:xfrm>
          <a:prstGeom prst="bentConnector2">
            <a:avLst/>
          </a:prstGeom>
          <a:noFill/>
          <a:ln w="19050" cap="rnd">
            <a:solidFill>
              <a:schemeClr val="tx2"/>
            </a:solidFill>
            <a:round/>
            <a:headEnd/>
            <a:tailEnd/>
          </a:ln>
        </p:spPr>
      </p:cxnSp>
      <p:sp>
        <p:nvSpPr>
          <p:cNvPr id="12" name="Rectangle 5">
            <a:extLst>
              <a:ext uri="{FF2B5EF4-FFF2-40B4-BE49-F238E27FC236}">
                <a16:creationId xmlns:a16="http://schemas.microsoft.com/office/drawing/2014/main" id="{5184B74C-8D43-4469-8BB8-83F76CB560CD}"/>
              </a:ext>
            </a:extLst>
          </p:cNvPr>
          <p:cNvSpPr>
            <a:spLocks noChangeArrowheads="1"/>
          </p:cNvSpPr>
          <p:nvPr/>
        </p:nvSpPr>
        <p:spPr bwMode="auto">
          <a:xfrm>
            <a:off x="8900341" y="4707807"/>
            <a:ext cx="2627693" cy="702272"/>
          </a:xfrm>
          <a:prstGeom prst="rect">
            <a:avLst/>
          </a:prstGeom>
          <a:noFill/>
          <a:ln w="19050" algn="ctr">
            <a:noFill/>
            <a:miter lim="800000"/>
            <a:headEnd/>
            <a:tailEnd/>
          </a:ln>
        </p:spPr>
        <p:txBody>
          <a:bodyPr wrap="square" lIns="103900" tIns="103900" rIns="103900" bIns="103900">
            <a:spAutoFit/>
          </a:bodyPr>
          <a:lstStyle/>
          <a:p>
            <a:r>
              <a:rPr lang="en-US" sz="1600" dirty="0">
                <a:sym typeface="Trebuchet MS" panose="020B0603020202020204" pitchFamily="34" charset="0"/>
              </a:rPr>
              <a:t>Ordered based on </a:t>
            </a:r>
            <a:br>
              <a:rPr lang="en-US" sz="1600" dirty="0">
                <a:sym typeface="Trebuchet MS" panose="020B0603020202020204" pitchFamily="34" charset="0"/>
              </a:rPr>
            </a:br>
            <a:r>
              <a:rPr lang="en-US" sz="1600" dirty="0">
                <a:sym typeface="Trebuchet MS" panose="020B0603020202020204" pitchFamily="34" charset="0"/>
              </a:rPr>
              <a:t>competitive performance</a:t>
            </a:r>
          </a:p>
        </p:txBody>
      </p:sp>
      <p:sp>
        <p:nvSpPr>
          <p:cNvPr id="13" name="Rectangle 6">
            <a:extLst>
              <a:ext uri="{FF2B5EF4-FFF2-40B4-BE49-F238E27FC236}">
                <a16:creationId xmlns:a16="http://schemas.microsoft.com/office/drawing/2014/main" id="{9C0AAE67-996F-436B-9E07-91CCFF01BB0A}"/>
              </a:ext>
            </a:extLst>
          </p:cNvPr>
          <p:cNvSpPr>
            <a:spLocks noChangeArrowheads="1"/>
          </p:cNvSpPr>
          <p:nvPr/>
        </p:nvSpPr>
        <p:spPr bwMode="auto">
          <a:xfrm>
            <a:off x="8900342" y="5344540"/>
            <a:ext cx="3220270" cy="456051"/>
          </a:xfrm>
          <a:prstGeom prst="rect">
            <a:avLst/>
          </a:prstGeom>
          <a:noFill/>
          <a:ln w="19050" algn="ctr">
            <a:noFill/>
            <a:miter lim="800000"/>
            <a:headEnd/>
            <a:tailEnd/>
          </a:ln>
        </p:spPr>
        <p:txBody>
          <a:bodyPr wrap="square" lIns="103900" tIns="103900" rIns="103900" bIns="103900">
            <a:spAutoFit/>
          </a:bodyPr>
          <a:lstStyle/>
          <a:p>
            <a:r>
              <a:rPr lang="en-US" sz="1600" dirty="0">
                <a:sym typeface="Trebuchet MS" panose="020B0603020202020204" pitchFamily="34" charset="0"/>
              </a:rPr>
              <a:t>Selected from segmented fields</a:t>
            </a:r>
          </a:p>
        </p:txBody>
      </p:sp>
      <p:cxnSp>
        <p:nvCxnSpPr>
          <p:cNvPr id="20" name="AutoShape 15">
            <a:extLst>
              <a:ext uri="{FF2B5EF4-FFF2-40B4-BE49-F238E27FC236}">
                <a16:creationId xmlns:a16="http://schemas.microsoft.com/office/drawing/2014/main" id="{73A53520-AF79-4D2E-86F3-203607ACF52A}"/>
              </a:ext>
            </a:extLst>
          </p:cNvPr>
          <p:cNvCxnSpPr>
            <a:cxnSpLocks noChangeShapeType="1"/>
            <a:stCxn id="12" idx="1"/>
          </p:cNvCxnSpPr>
          <p:nvPr/>
        </p:nvCxnSpPr>
        <p:spPr bwMode="auto">
          <a:xfrm rot="10800000">
            <a:off x="8512515" y="4453035"/>
            <a:ext cx="387827" cy="605909"/>
          </a:xfrm>
          <a:prstGeom prst="bentConnector2">
            <a:avLst/>
          </a:prstGeom>
          <a:noFill/>
          <a:ln w="19050" cap="rnd">
            <a:solidFill>
              <a:schemeClr val="tx2"/>
            </a:solidFill>
            <a:round/>
            <a:headEnd/>
            <a:tailEnd/>
          </a:ln>
        </p:spPr>
      </p:cxnSp>
      <p:cxnSp>
        <p:nvCxnSpPr>
          <p:cNvPr id="21" name="AutoShape 16">
            <a:extLst>
              <a:ext uri="{FF2B5EF4-FFF2-40B4-BE49-F238E27FC236}">
                <a16:creationId xmlns:a16="http://schemas.microsoft.com/office/drawing/2014/main" id="{2708EAAA-29E4-4F2E-9E26-826290863EC6}"/>
              </a:ext>
            </a:extLst>
          </p:cNvPr>
          <p:cNvCxnSpPr>
            <a:cxnSpLocks noChangeShapeType="1"/>
            <a:stCxn id="13" idx="1"/>
          </p:cNvCxnSpPr>
          <p:nvPr/>
        </p:nvCxnSpPr>
        <p:spPr bwMode="auto">
          <a:xfrm rot="10800000">
            <a:off x="8512506" y="4593728"/>
            <a:ext cx="387836" cy="978839"/>
          </a:xfrm>
          <a:prstGeom prst="bentConnector2">
            <a:avLst/>
          </a:prstGeom>
          <a:noFill/>
          <a:ln w="19050" cap="rnd">
            <a:solidFill>
              <a:schemeClr val="tx2"/>
            </a:solidFill>
            <a:round/>
            <a:headEnd/>
            <a:tailEnd/>
          </a:ln>
        </p:spPr>
      </p:cxnSp>
      <p:sp>
        <p:nvSpPr>
          <p:cNvPr id="25" name="Rectangle 22">
            <a:extLst>
              <a:ext uri="{FF2B5EF4-FFF2-40B4-BE49-F238E27FC236}">
                <a16:creationId xmlns:a16="http://schemas.microsoft.com/office/drawing/2014/main" id="{00A66BA8-52A6-4204-8F9B-92991ED5023B}"/>
              </a:ext>
            </a:extLst>
          </p:cNvPr>
          <p:cNvSpPr>
            <a:spLocks noChangeArrowheads="1"/>
          </p:cNvSpPr>
          <p:nvPr/>
        </p:nvSpPr>
        <p:spPr bwMode="auto">
          <a:xfrm>
            <a:off x="4514696" y="4725087"/>
            <a:ext cx="3220269" cy="628651"/>
          </a:xfrm>
          <a:prstGeom prst="rect">
            <a:avLst/>
          </a:prstGeom>
          <a:solidFill>
            <a:schemeClr val="bg1"/>
          </a:solidFill>
          <a:ln w="19050" cap="rnd" cmpd="sng" algn="ctr">
            <a:solidFill>
              <a:srgbClr val="7F7F7F"/>
            </a:solidFill>
            <a:prstDash val="solid"/>
            <a:round/>
            <a:headEnd type="none" w="med" len="med"/>
            <a:tailEnd type="none" w="med" len="med"/>
          </a:ln>
        </p:spPr>
        <p:txBody>
          <a:bodyPr tIns="121920" bIns="121920" anchor="ctr"/>
          <a:lstStyle/>
          <a:p>
            <a:pPr algn="ctr"/>
            <a:r>
              <a:rPr lang="en-US" sz="1600" dirty="0">
                <a:solidFill>
                  <a:srgbClr val="7F7F7F"/>
                </a:solidFill>
                <a:sym typeface="Trebuchet MS" panose="020B0603020202020204" pitchFamily="34" charset="0"/>
              </a:rPr>
              <a:t>Requires 80% of committee votes</a:t>
            </a:r>
          </a:p>
        </p:txBody>
      </p:sp>
      <p:sp>
        <p:nvSpPr>
          <p:cNvPr id="27" name="Rectangle 25">
            <a:extLst>
              <a:ext uri="{FF2B5EF4-FFF2-40B4-BE49-F238E27FC236}">
                <a16:creationId xmlns:a16="http://schemas.microsoft.com/office/drawing/2014/main" id="{F67C8A37-6387-4C22-9183-46991ED91AD5}"/>
              </a:ext>
            </a:extLst>
          </p:cNvPr>
          <p:cNvSpPr>
            <a:spLocks noChangeArrowheads="1"/>
          </p:cNvSpPr>
          <p:nvPr/>
        </p:nvSpPr>
        <p:spPr bwMode="auto">
          <a:xfrm>
            <a:off x="3977725" y="2058794"/>
            <a:ext cx="4236549" cy="1062832"/>
          </a:xfrm>
          <a:prstGeom prst="rect">
            <a:avLst/>
          </a:prstGeom>
          <a:solidFill>
            <a:schemeClr val="bg1"/>
          </a:solidFill>
          <a:ln w="19050" cap="rnd" algn="ctr">
            <a:solidFill>
              <a:schemeClr val="tx2"/>
            </a:solidFill>
            <a:round/>
            <a:headEnd/>
            <a:tailEnd/>
          </a:ln>
        </p:spPr>
        <p:txBody>
          <a:bodyPr tIns="121920" bIns="121920" anchor="ctr"/>
          <a:lstStyle/>
          <a:p>
            <a:pPr algn="ctr"/>
            <a:r>
              <a:rPr lang="en-US" sz="2000" dirty="0">
                <a:solidFill>
                  <a:schemeClr val="tx2"/>
                </a:solidFill>
                <a:sym typeface="Trebuchet MS" panose="020B0603020202020204" pitchFamily="34" charset="0"/>
              </a:rPr>
              <a:t>Committee members submit a list of teams they think should for sure be in the national's field</a:t>
            </a:r>
          </a:p>
        </p:txBody>
      </p:sp>
      <p:cxnSp>
        <p:nvCxnSpPr>
          <p:cNvPr id="68" name="AutoShape 2">
            <a:extLst>
              <a:ext uri="{FF2B5EF4-FFF2-40B4-BE49-F238E27FC236}">
                <a16:creationId xmlns:a16="http://schemas.microsoft.com/office/drawing/2014/main" id="{89E5C00A-0B4A-43F9-89D9-4C1893EAC4D9}"/>
              </a:ext>
            </a:extLst>
          </p:cNvPr>
          <p:cNvCxnSpPr>
            <a:cxnSpLocks noChangeShapeType="1"/>
          </p:cNvCxnSpPr>
          <p:nvPr/>
        </p:nvCxnSpPr>
        <p:spPr bwMode="auto">
          <a:xfrm rot="5400000" flipH="1" flipV="1">
            <a:off x="3631662" y="1454084"/>
            <a:ext cx="798005" cy="4133088"/>
          </a:xfrm>
          <a:prstGeom prst="bentConnector3">
            <a:avLst>
              <a:gd name="adj1" fmla="val 50000"/>
            </a:avLst>
          </a:prstGeom>
          <a:noFill/>
          <a:ln w="19050" cap="rnd">
            <a:solidFill>
              <a:schemeClr val="tx2"/>
            </a:solidFill>
            <a:round/>
            <a:headEnd/>
            <a:tailEnd/>
          </a:ln>
        </p:spPr>
      </p:cxnSp>
      <p:sp>
        <p:nvSpPr>
          <p:cNvPr id="74" name="Rectangle 5">
            <a:extLst>
              <a:ext uri="{FF2B5EF4-FFF2-40B4-BE49-F238E27FC236}">
                <a16:creationId xmlns:a16="http://schemas.microsoft.com/office/drawing/2014/main" id="{3F3FBD28-AF5B-43DE-A78E-18EAF3FA688F}"/>
              </a:ext>
            </a:extLst>
          </p:cNvPr>
          <p:cNvSpPr>
            <a:spLocks noChangeArrowheads="1"/>
          </p:cNvSpPr>
          <p:nvPr/>
        </p:nvSpPr>
        <p:spPr bwMode="auto">
          <a:xfrm>
            <a:off x="1318984" y="4688278"/>
            <a:ext cx="2601591" cy="702272"/>
          </a:xfrm>
          <a:prstGeom prst="rect">
            <a:avLst/>
          </a:prstGeom>
          <a:noFill/>
          <a:ln w="19050" algn="ctr">
            <a:noFill/>
            <a:miter lim="800000"/>
            <a:headEnd/>
            <a:tailEnd/>
          </a:ln>
        </p:spPr>
        <p:txBody>
          <a:bodyPr wrap="square" lIns="103900" tIns="103900" rIns="103900" bIns="103900">
            <a:spAutoFit/>
          </a:bodyPr>
          <a:lstStyle/>
          <a:p>
            <a:r>
              <a:rPr lang="en-US" sz="1600" dirty="0">
                <a:sym typeface="Trebuchet MS" panose="020B0603020202020204" pitchFamily="34" charset="0"/>
              </a:rPr>
              <a:t>Top 2 from each</a:t>
            </a:r>
            <a:br>
              <a:rPr lang="en-US" sz="1600" dirty="0">
                <a:sym typeface="Trebuchet MS" panose="020B0603020202020204" pitchFamily="34" charset="0"/>
              </a:rPr>
            </a:br>
            <a:r>
              <a:rPr lang="en-US" sz="1600" dirty="0">
                <a:sym typeface="Trebuchet MS" panose="020B0603020202020204" pitchFamily="34" charset="0"/>
              </a:rPr>
              <a:t>conference championship</a:t>
            </a:r>
          </a:p>
        </p:txBody>
      </p:sp>
      <p:cxnSp>
        <p:nvCxnSpPr>
          <p:cNvPr id="75" name="AutoShape 15">
            <a:extLst>
              <a:ext uri="{FF2B5EF4-FFF2-40B4-BE49-F238E27FC236}">
                <a16:creationId xmlns:a16="http://schemas.microsoft.com/office/drawing/2014/main" id="{F1ED62DB-B0D8-4B91-89B9-076B8C3DC37E}"/>
              </a:ext>
            </a:extLst>
          </p:cNvPr>
          <p:cNvCxnSpPr>
            <a:cxnSpLocks noChangeShapeType="1"/>
          </p:cNvCxnSpPr>
          <p:nvPr/>
        </p:nvCxnSpPr>
        <p:spPr bwMode="auto">
          <a:xfrm rot="10800000">
            <a:off x="845456" y="4556609"/>
            <a:ext cx="387833" cy="482805"/>
          </a:xfrm>
          <a:prstGeom prst="bentConnector2">
            <a:avLst/>
          </a:prstGeom>
          <a:noFill/>
          <a:ln w="19050" cap="rnd">
            <a:solidFill>
              <a:schemeClr val="tx2"/>
            </a:solidFill>
            <a:round/>
            <a:headEnd/>
            <a:tailEnd/>
          </a:ln>
        </p:spPr>
      </p:cxnSp>
      <p:sp>
        <p:nvSpPr>
          <p:cNvPr id="15" name="Rectangle 9">
            <a:extLst>
              <a:ext uri="{FF2B5EF4-FFF2-40B4-BE49-F238E27FC236}">
                <a16:creationId xmlns:a16="http://schemas.microsoft.com/office/drawing/2014/main" id="{4C3ECDA6-754D-4F55-9B73-75FD5045223E}"/>
              </a:ext>
            </a:extLst>
          </p:cNvPr>
          <p:cNvSpPr>
            <a:spLocks noChangeArrowheads="1"/>
          </p:cNvSpPr>
          <p:nvPr/>
        </p:nvSpPr>
        <p:spPr bwMode="auto">
          <a:xfrm>
            <a:off x="4176527" y="3919631"/>
            <a:ext cx="3220269" cy="628651"/>
          </a:xfrm>
          <a:prstGeom prst="rect">
            <a:avLst/>
          </a:prstGeom>
          <a:solidFill>
            <a:schemeClr val="bg1"/>
          </a:solidFill>
          <a:ln w="19050" cap="rnd" algn="ctr">
            <a:solidFill>
              <a:schemeClr val="tx2"/>
            </a:solidFill>
            <a:round/>
            <a:headEnd/>
            <a:tailEnd/>
          </a:ln>
        </p:spPr>
        <p:txBody>
          <a:bodyPr tIns="121920" bIns="121920" anchor="ctr"/>
          <a:lstStyle/>
          <a:p>
            <a:pPr algn="ctr"/>
            <a:r>
              <a:rPr lang="en-US" sz="2000" dirty="0">
                <a:solidFill>
                  <a:schemeClr val="tx2"/>
                </a:solidFill>
                <a:sym typeface="Trebuchet MS" panose="020B0603020202020204" pitchFamily="34" charset="0"/>
              </a:rPr>
              <a:t>Column 1: Lock Teams</a:t>
            </a:r>
          </a:p>
        </p:txBody>
      </p:sp>
      <p:sp>
        <p:nvSpPr>
          <p:cNvPr id="62" name="Rectangle 9">
            <a:extLst>
              <a:ext uri="{FF2B5EF4-FFF2-40B4-BE49-F238E27FC236}">
                <a16:creationId xmlns:a16="http://schemas.microsoft.com/office/drawing/2014/main" id="{D8601B24-3CAF-4113-B6CE-411CC02D6423}"/>
              </a:ext>
            </a:extLst>
          </p:cNvPr>
          <p:cNvSpPr>
            <a:spLocks noChangeArrowheads="1"/>
          </p:cNvSpPr>
          <p:nvPr/>
        </p:nvSpPr>
        <p:spPr bwMode="auto">
          <a:xfrm>
            <a:off x="660536" y="3919631"/>
            <a:ext cx="2601591" cy="628651"/>
          </a:xfrm>
          <a:prstGeom prst="rect">
            <a:avLst/>
          </a:prstGeom>
          <a:solidFill>
            <a:schemeClr val="bg1"/>
          </a:solidFill>
          <a:ln w="19050" cap="rnd" algn="ctr">
            <a:solidFill>
              <a:schemeClr val="tx2"/>
            </a:solidFill>
            <a:round/>
            <a:headEnd/>
            <a:tailEnd/>
          </a:ln>
        </p:spPr>
        <p:txBody>
          <a:bodyPr tIns="121920" bIns="121920" anchor="ctr"/>
          <a:lstStyle/>
          <a:p>
            <a:pPr algn="ctr"/>
            <a:r>
              <a:rPr lang="en-US" sz="2000" dirty="0">
                <a:solidFill>
                  <a:schemeClr val="tx2"/>
                </a:solidFill>
                <a:sym typeface="Trebuchet MS" panose="020B0603020202020204" pitchFamily="34" charset="0"/>
              </a:rPr>
              <a:t>Conference Championships</a:t>
            </a:r>
          </a:p>
        </p:txBody>
      </p:sp>
      <p:sp>
        <p:nvSpPr>
          <p:cNvPr id="18" name="Rectangle 17">
            <a:extLst>
              <a:ext uri="{FF2B5EF4-FFF2-40B4-BE49-F238E27FC236}">
                <a16:creationId xmlns:a16="http://schemas.microsoft.com/office/drawing/2014/main" id="{4608AA81-79D2-4E7F-B507-F186BA576FAB}"/>
              </a:ext>
            </a:extLst>
          </p:cNvPr>
          <p:cNvSpPr>
            <a:spLocks noChangeArrowheads="1"/>
          </p:cNvSpPr>
          <p:nvPr/>
        </p:nvSpPr>
        <p:spPr bwMode="auto">
          <a:xfrm>
            <a:off x="8311196" y="3919631"/>
            <a:ext cx="3220269" cy="628650"/>
          </a:xfrm>
          <a:prstGeom prst="rect">
            <a:avLst/>
          </a:prstGeom>
          <a:solidFill>
            <a:schemeClr val="bg1"/>
          </a:solidFill>
          <a:ln w="57150" cap="rnd" algn="ctr">
            <a:solidFill>
              <a:schemeClr val="tx2"/>
            </a:solidFill>
            <a:round/>
            <a:headEnd/>
            <a:tailEnd/>
          </a:ln>
        </p:spPr>
        <p:txBody>
          <a:bodyPr tIns="121920" bIns="121920" anchor="ctr"/>
          <a:lstStyle/>
          <a:p>
            <a:pPr algn="ctr"/>
            <a:r>
              <a:rPr lang="en-US" sz="2000" dirty="0">
                <a:solidFill>
                  <a:schemeClr val="tx2"/>
                </a:solidFill>
                <a:sym typeface="Trebuchet MS" panose="020B0603020202020204" pitchFamily="34" charset="0"/>
              </a:rPr>
              <a:t>All other R and CR teams</a:t>
            </a:r>
          </a:p>
        </p:txBody>
      </p:sp>
      <p:grpSp>
        <p:nvGrpSpPr>
          <p:cNvPr id="103" name="Group 102">
            <a:extLst>
              <a:ext uri="{FF2B5EF4-FFF2-40B4-BE49-F238E27FC236}">
                <a16:creationId xmlns:a16="http://schemas.microsoft.com/office/drawing/2014/main" id="{93FEE8FB-315E-4CC5-B201-120AD01E6945}"/>
              </a:ext>
            </a:extLst>
          </p:cNvPr>
          <p:cNvGrpSpPr>
            <a:grpSpLocks/>
          </p:cNvGrpSpPr>
          <p:nvPr/>
        </p:nvGrpSpPr>
        <p:grpSpPr>
          <a:xfrm rot="5400000">
            <a:off x="9997300" y="4488806"/>
            <a:ext cx="331949" cy="3301539"/>
            <a:chOff x="5942914" y="2081213"/>
            <a:chExt cx="306171" cy="4079081"/>
          </a:xfrm>
        </p:grpSpPr>
        <p:cxnSp>
          <p:nvCxnSpPr>
            <p:cNvPr id="104" name="Straight Connector 103">
              <a:extLst>
                <a:ext uri="{FF2B5EF4-FFF2-40B4-BE49-F238E27FC236}">
                  <a16:creationId xmlns:a16="http://schemas.microsoft.com/office/drawing/2014/main" id="{EE4FBA36-816A-41DE-9D35-85D997CA905D}"/>
                </a:ext>
              </a:extLst>
            </p:cNvPr>
            <p:cNvCxnSpPr/>
            <p:nvPr/>
          </p:nvCxnSpPr>
          <p:spPr>
            <a:xfrm>
              <a:off x="6096000" y="2081213"/>
              <a:ext cx="0" cy="4079081"/>
            </a:xfrm>
            <a:prstGeom prst="line">
              <a:avLst/>
            </a:prstGeom>
            <a:ln w="2857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CD34DF75-53DE-4AEA-AB9E-00AF2779A56E}"/>
                </a:ext>
              </a:extLst>
            </p:cNvPr>
            <p:cNvGrpSpPr/>
            <p:nvPr/>
          </p:nvGrpSpPr>
          <p:grpSpPr>
            <a:xfrm>
              <a:off x="5942914" y="3967299"/>
              <a:ext cx="306171" cy="306910"/>
              <a:chOff x="5937564" y="3833745"/>
              <a:chExt cx="306171" cy="306910"/>
            </a:xfrm>
          </p:grpSpPr>
          <p:sp>
            <p:nvSpPr>
              <p:cNvPr id="106" name="Freeform 94">
                <a:extLst>
                  <a:ext uri="{FF2B5EF4-FFF2-40B4-BE49-F238E27FC236}">
                    <a16:creationId xmlns:a16="http://schemas.microsoft.com/office/drawing/2014/main" id="{AFAC877E-3537-49D7-B12D-69857C406C9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w="28575">
                <a:solidFill>
                  <a:schemeClr val="tx2"/>
                </a:solidFill>
              </a:ln>
            </p:spPr>
            <p:txBody>
              <a:bodyPr vert="horz" wrap="square" lIns="106369" tIns="53185" rIns="106369" bIns="53185" numCol="1" anchor="t" anchorCtr="0" compatLnSpc="1">
                <a:prstTxWarp prst="textNoShape">
                  <a:avLst/>
                </a:prstTxWarp>
              </a:bodyPr>
              <a:lstStyle/>
              <a:p>
                <a:endParaRPr lang="en-US" dirty="0">
                  <a:solidFill>
                    <a:srgbClr val="6E6F73"/>
                  </a:solidFill>
                </a:endParaRPr>
              </a:p>
            </p:txBody>
          </p:sp>
          <p:sp>
            <p:nvSpPr>
              <p:cNvPr id="107" name="Freeform 95">
                <a:extLst>
                  <a:ext uri="{FF2B5EF4-FFF2-40B4-BE49-F238E27FC236}">
                    <a16:creationId xmlns:a16="http://schemas.microsoft.com/office/drawing/2014/main" id="{6179A0DD-EFAC-4480-B538-0D9312D4BB30}"/>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w="9525" cap="flat" cmpd="sng" algn="ctr">
                <a:solidFill>
                  <a:srgbClr val="FFFFFF"/>
                </a:solidFill>
                <a:prstDash val="solid"/>
                <a:round/>
                <a:headEnd type="none" w="med" len="med"/>
                <a:tailEnd type="none" w="med" len="med"/>
              </a:ln>
            </p:spPr>
            <p:txBody>
              <a:bodyPr vert="horz" wrap="square" lIns="106369" tIns="53185" rIns="106369" bIns="53185" numCol="1" anchor="t" anchorCtr="0" compatLnSpc="1">
                <a:prstTxWarp prst="textNoShape">
                  <a:avLst/>
                </a:prstTxWarp>
              </a:bodyPr>
              <a:lstStyle/>
              <a:p>
                <a:endParaRPr lang="en-US" dirty="0">
                  <a:solidFill>
                    <a:srgbClr val="6E6F73"/>
                  </a:solidFill>
                </a:endParaRPr>
              </a:p>
            </p:txBody>
          </p:sp>
        </p:grpSp>
      </p:grpSp>
    </p:spTree>
    <p:extLst>
      <p:ext uri="{BB962C8B-B14F-4D97-AF65-F5344CB8AC3E}">
        <p14:creationId xmlns:p14="http://schemas.microsoft.com/office/powerpoint/2010/main" val="115380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788BC4-A4AA-40C7-9220-7D9C0877B048}"/>
              </a:ext>
            </a:extLst>
          </p:cNvPr>
          <p:cNvGraphicFramePr>
            <a:graphicFrameLocks noChangeAspect="1"/>
          </p:cNvGraphicFramePr>
          <p:nvPr>
            <p:custDataLst>
              <p:tags r:id="rId3"/>
            </p:custDataLst>
            <p:extLst>
              <p:ext uri="{D42A27DB-BD31-4B8C-83A1-F6EECF244321}">
                <p14:modId xmlns:p14="http://schemas.microsoft.com/office/powerpoint/2010/main" val="307912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08"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CE5F890-D241-4641-BBAC-4FAA075E56F1}"/>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Selection of remaining field performed iteratively</a:t>
            </a:r>
          </a:p>
        </p:txBody>
      </p:sp>
      <p:grpSp>
        <p:nvGrpSpPr>
          <p:cNvPr id="19" name="Group 18">
            <a:extLst>
              <a:ext uri="{FF2B5EF4-FFF2-40B4-BE49-F238E27FC236}">
                <a16:creationId xmlns:a16="http://schemas.microsoft.com/office/drawing/2014/main" id="{0226142A-FDAC-49A4-BDBC-F62A0D003182}"/>
              </a:ext>
            </a:extLst>
          </p:cNvPr>
          <p:cNvGrpSpPr/>
          <p:nvPr/>
        </p:nvGrpSpPr>
        <p:grpSpPr>
          <a:xfrm>
            <a:off x="2252971" y="2342614"/>
            <a:ext cx="7686058" cy="3557071"/>
            <a:chOff x="2285025" y="2752040"/>
            <a:chExt cx="7686058" cy="3557071"/>
          </a:xfrm>
        </p:grpSpPr>
        <p:grpSp>
          <p:nvGrpSpPr>
            <p:cNvPr id="5" name="Group 4">
              <a:extLst>
                <a:ext uri="{FF2B5EF4-FFF2-40B4-BE49-F238E27FC236}">
                  <a16:creationId xmlns:a16="http://schemas.microsoft.com/office/drawing/2014/main" id="{B2F413C6-6383-4320-A624-63A07530F9C1}"/>
                </a:ext>
              </a:extLst>
            </p:cNvPr>
            <p:cNvGrpSpPr/>
            <p:nvPr/>
          </p:nvGrpSpPr>
          <p:grpSpPr>
            <a:xfrm>
              <a:off x="2285025" y="2752040"/>
              <a:ext cx="7686058" cy="3557071"/>
              <a:chOff x="5144735" y="2519989"/>
              <a:chExt cx="1902531" cy="1818078"/>
            </a:xfrm>
          </p:grpSpPr>
          <p:sp>
            <p:nvSpPr>
              <p:cNvPr id="6" name="Freeform 2">
                <a:extLst>
                  <a:ext uri="{FF2B5EF4-FFF2-40B4-BE49-F238E27FC236}">
                    <a16:creationId xmlns:a16="http://schemas.microsoft.com/office/drawing/2014/main" id="{FE71E0DE-26BA-43F7-B140-DA969ACF03B0}"/>
                  </a:ext>
                </a:extLst>
              </p:cNvPr>
              <p:cNvSpPr>
                <a:spLocks/>
              </p:cNvSpPr>
              <p:nvPr/>
            </p:nvSpPr>
            <p:spPr bwMode="auto">
              <a:xfrm>
                <a:off x="5646369" y="3930691"/>
                <a:ext cx="899261" cy="407376"/>
              </a:xfrm>
              <a:custGeom>
                <a:avLst/>
                <a:gdLst>
                  <a:gd name="T0" fmla="*/ 347 w 415"/>
                  <a:gd name="T1" fmla="*/ 188 h 188"/>
                  <a:gd name="T2" fmla="*/ 415 w 415"/>
                  <a:gd name="T3" fmla="*/ 0 h 188"/>
                  <a:gd name="T4" fmla="*/ 0 w 415"/>
                  <a:gd name="T5" fmla="*/ 0 h 188"/>
                  <a:gd name="T6" fmla="*/ 70 w 415"/>
                  <a:gd name="T7" fmla="*/ 188 h 188"/>
                  <a:gd name="T8" fmla="*/ 347 w 415"/>
                  <a:gd name="T9" fmla="*/ 188 h 188"/>
                </a:gdLst>
                <a:ahLst/>
                <a:cxnLst>
                  <a:cxn ang="0">
                    <a:pos x="T0" y="T1"/>
                  </a:cxn>
                  <a:cxn ang="0">
                    <a:pos x="T2" y="T3"/>
                  </a:cxn>
                  <a:cxn ang="0">
                    <a:pos x="T4" y="T5"/>
                  </a:cxn>
                  <a:cxn ang="0">
                    <a:pos x="T6" y="T7"/>
                  </a:cxn>
                  <a:cxn ang="0">
                    <a:pos x="T8" y="T9"/>
                  </a:cxn>
                </a:cxnLst>
                <a:rect l="0" t="0" r="r" b="b"/>
                <a:pathLst>
                  <a:path w="415" h="188">
                    <a:moveTo>
                      <a:pt x="347" y="188"/>
                    </a:moveTo>
                    <a:lnTo>
                      <a:pt x="415" y="0"/>
                    </a:lnTo>
                    <a:lnTo>
                      <a:pt x="0" y="0"/>
                    </a:lnTo>
                    <a:lnTo>
                      <a:pt x="70" y="188"/>
                    </a:lnTo>
                    <a:lnTo>
                      <a:pt x="347" y="18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en-US" b="1" dirty="0">
                    <a:solidFill>
                      <a:srgbClr val="FFFFFF"/>
                    </a:solidFill>
                  </a:rPr>
                  <a:t>Final selection round chooses only the last berth</a:t>
                </a:r>
              </a:p>
            </p:txBody>
          </p:sp>
          <p:sp>
            <p:nvSpPr>
              <p:cNvPr id="7" name="Freeform 3">
                <a:extLst>
                  <a:ext uri="{FF2B5EF4-FFF2-40B4-BE49-F238E27FC236}">
                    <a16:creationId xmlns:a16="http://schemas.microsoft.com/office/drawing/2014/main" id="{50314C88-908D-488E-9A76-CB8DD3398F51}"/>
                  </a:ext>
                </a:extLst>
              </p:cNvPr>
              <p:cNvSpPr>
                <a:spLocks/>
              </p:cNvSpPr>
              <p:nvPr/>
            </p:nvSpPr>
            <p:spPr bwMode="auto">
              <a:xfrm>
                <a:off x="5484936" y="3456086"/>
                <a:ext cx="1224295" cy="420377"/>
              </a:xfrm>
              <a:custGeom>
                <a:avLst/>
                <a:gdLst>
                  <a:gd name="T0" fmla="*/ 496 w 565"/>
                  <a:gd name="T1" fmla="*/ 194 h 194"/>
                  <a:gd name="T2" fmla="*/ 565 w 565"/>
                  <a:gd name="T3" fmla="*/ 0 h 194"/>
                  <a:gd name="T4" fmla="*/ 0 w 565"/>
                  <a:gd name="T5" fmla="*/ 0 h 194"/>
                  <a:gd name="T6" fmla="*/ 69 w 565"/>
                  <a:gd name="T7" fmla="*/ 194 h 194"/>
                  <a:gd name="T8" fmla="*/ 496 w 565"/>
                  <a:gd name="T9" fmla="*/ 194 h 194"/>
                </a:gdLst>
                <a:ahLst/>
                <a:cxnLst>
                  <a:cxn ang="0">
                    <a:pos x="T0" y="T1"/>
                  </a:cxn>
                  <a:cxn ang="0">
                    <a:pos x="T2" y="T3"/>
                  </a:cxn>
                  <a:cxn ang="0">
                    <a:pos x="T4" y="T5"/>
                  </a:cxn>
                  <a:cxn ang="0">
                    <a:pos x="T6" y="T7"/>
                  </a:cxn>
                  <a:cxn ang="0">
                    <a:pos x="T8" y="T9"/>
                  </a:cxn>
                </a:cxnLst>
                <a:rect l="0" t="0" r="r" b="b"/>
                <a:pathLst>
                  <a:path w="565" h="194">
                    <a:moveTo>
                      <a:pt x="496" y="194"/>
                    </a:moveTo>
                    <a:lnTo>
                      <a:pt x="565" y="0"/>
                    </a:lnTo>
                    <a:lnTo>
                      <a:pt x="0" y="0"/>
                    </a:lnTo>
                    <a:lnTo>
                      <a:pt x="69" y="194"/>
                    </a:lnTo>
                    <a:lnTo>
                      <a:pt x="496" y="19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4">
                <a:extLst>
                  <a:ext uri="{FF2B5EF4-FFF2-40B4-BE49-F238E27FC236}">
                    <a16:creationId xmlns:a16="http://schemas.microsoft.com/office/drawing/2014/main" id="{2B37A4E2-578E-43B3-85A9-87A82B7689AD}"/>
                  </a:ext>
                </a:extLst>
              </p:cNvPr>
              <p:cNvSpPr>
                <a:spLocks/>
              </p:cNvSpPr>
              <p:nvPr/>
            </p:nvSpPr>
            <p:spPr bwMode="auto">
              <a:xfrm>
                <a:off x="5314835" y="2994482"/>
                <a:ext cx="1562330" cy="407376"/>
              </a:xfrm>
              <a:custGeom>
                <a:avLst/>
                <a:gdLst>
                  <a:gd name="T0" fmla="*/ 653 w 721"/>
                  <a:gd name="T1" fmla="*/ 188 h 188"/>
                  <a:gd name="T2" fmla="*/ 721 w 721"/>
                  <a:gd name="T3" fmla="*/ 0 h 188"/>
                  <a:gd name="T4" fmla="*/ 0 w 721"/>
                  <a:gd name="T5" fmla="*/ 0 h 188"/>
                  <a:gd name="T6" fmla="*/ 69 w 721"/>
                  <a:gd name="T7" fmla="*/ 188 h 188"/>
                  <a:gd name="T8" fmla="*/ 653 w 721"/>
                  <a:gd name="T9" fmla="*/ 188 h 188"/>
                </a:gdLst>
                <a:ahLst/>
                <a:cxnLst>
                  <a:cxn ang="0">
                    <a:pos x="T0" y="T1"/>
                  </a:cxn>
                  <a:cxn ang="0">
                    <a:pos x="T2" y="T3"/>
                  </a:cxn>
                  <a:cxn ang="0">
                    <a:pos x="T4" y="T5"/>
                  </a:cxn>
                  <a:cxn ang="0">
                    <a:pos x="T6" y="T7"/>
                  </a:cxn>
                  <a:cxn ang="0">
                    <a:pos x="T8" y="T9"/>
                  </a:cxn>
                </a:cxnLst>
                <a:rect l="0" t="0" r="r" b="b"/>
                <a:pathLst>
                  <a:path w="721" h="188">
                    <a:moveTo>
                      <a:pt x="653" y="188"/>
                    </a:moveTo>
                    <a:lnTo>
                      <a:pt x="721" y="0"/>
                    </a:lnTo>
                    <a:lnTo>
                      <a:pt x="0" y="0"/>
                    </a:lnTo>
                    <a:lnTo>
                      <a:pt x="69" y="188"/>
                    </a:lnTo>
                    <a:lnTo>
                      <a:pt x="653" y="18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algn="ctr"/>
                <a:r>
                  <a:rPr lang="en-US" b="1" dirty="0">
                    <a:solidFill>
                      <a:srgbClr val="FFFFFF"/>
                    </a:solidFill>
                  </a:rPr>
                  <a:t>Subsequent rounds select fewer berths</a:t>
                </a:r>
              </a:p>
            </p:txBody>
          </p:sp>
          <p:sp>
            <p:nvSpPr>
              <p:cNvPr id="9" name="Freeform 5">
                <a:extLst>
                  <a:ext uri="{FF2B5EF4-FFF2-40B4-BE49-F238E27FC236}">
                    <a16:creationId xmlns:a16="http://schemas.microsoft.com/office/drawing/2014/main" id="{7D0F44E4-8502-4292-9456-42FD08E14413}"/>
                  </a:ext>
                </a:extLst>
              </p:cNvPr>
              <p:cNvSpPr>
                <a:spLocks/>
              </p:cNvSpPr>
              <p:nvPr/>
            </p:nvSpPr>
            <p:spPr bwMode="auto">
              <a:xfrm>
                <a:off x="5144735" y="2519989"/>
                <a:ext cx="1902531" cy="420377"/>
              </a:xfrm>
              <a:custGeom>
                <a:avLst/>
                <a:gdLst>
                  <a:gd name="T0" fmla="*/ 0 w 878"/>
                  <a:gd name="T1" fmla="*/ 0 h 194"/>
                  <a:gd name="T2" fmla="*/ 69 w 878"/>
                  <a:gd name="T3" fmla="*/ 194 h 194"/>
                  <a:gd name="T4" fmla="*/ 810 w 878"/>
                  <a:gd name="T5" fmla="*/ 194 h 194"/>
                  <a:gd name="T6" fmla="*/ 878 w 878"/>
                  <a:gd name="T7" fmla="*/ 0 h 194"/>
                  <a:gd name="T8" fmla="*/ 0 w 878"/>
                  <a:gd name="T9" fmla="*/ 0 h 194"/>
                </a:gdLst>
                <a:ahLst/>
                <a:cxnLst>
                  <a:cxn ang="0">
                    <a:pos x="T0" y="T1"/>
                  </a:cxn>
                  <a:cxn ang="0">
                    <a:pos x="T2" y="T3"/>
                  </a:cxn>
                  <a:cxn ang="0">
                    <a:pos x="T4" y="T5"/>
                  </a:cxn>
                  <a:cxn ang="0">
                    <a:pos x="T6" y="T7"/>
                  </a:cxn>
                  <a:cxn ang="0">
                    <a:pos x="T8" y="T9"/>
                  </a:cxn>
                </a:cxnLst>
                <a:rect l="0" t="0" r="r" b="b"/>
                <a:pathLst>
                  <a:path w="878" h="194">
                    <a:moveTo>
                      <a:pt x="0" y="0"/>
                    </a:moveTo>
                    <a:lnTo>
                      <a:pt x="69" y="194"/>
                    </a:lnTo>
                    <a:lnTo>
                      <a:pt x="810" y="194"/>
                    </a:lnTo>
                    <a:lnTo>
                      <a:pt x="878"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en-US" b="1" dirty="0">
                    <a:solidFill>
                      <a:srgbClr val="FFFFFF"/>
                    </a:solidFill>
                  </a:rPr>
                  <a:t>Round 1 selects 2/3 of remaining berths</a:t>
                </a:r>
              </a:p>
            </p:txBody>
          </p:sp>
        </p:grpSp>
        <p:grpSp>
          <p:nvGrpSpPr>
            <p:cNvPr id="10" name="Group 9">
              <a:extLst>
                <a:ext uri="{FF2B5EF4-FFF2-40B4-BE49-F238E27FC236}">
                  <a16:creationId xmlns:a16="http://schemas.microsoft.com/office/drawing/2014/main" id="{FB782577-C683-4A9D-A29E-5F7EBEBF369E}"/>
                </a:ext>
              </a:extLst>
            </p:cNvPr>
            <p:cNvGrpSpPr>
              <a:grpSpLocks noChangeAspect="1"/>
            </p:cNvGrpSpPr>
            <p:nvPr/>
          </p:nvGrpSpPr>
          <p:grpSpPr>
            <a:xfrm rot="5400000">
              <a:off x="5974600" y="4373193"/>
              <a:ext cx="306910" cy="306910"/>
              <a:chOff x="982662" y="1847850"/>
              <a:chExt cx="269875" cy="269875"/>
            </a:xfrm>
          </p:grpSpPr>
          <p:sp>
            <p:nvSpPr>
              <p:cNvPr id="11" name="Oval 50">
                <a:extLst>
                  <a:ext uri="{FF2B5EF4-FFF2-40B4-BE49-F238E27FC236}">
                    <a16:creationId xmlns:a16="http://schemas.microsoft.com/office/drawing/2014/main" id="{8E836D3D-43DB-4E62-8C26-5962A24D4B65}"/>
                  </a:ext>
                </a:extLst>
              </p:cNvPr>
              <p:cNvSpPr>
                <a:spLocks noChangeArrowheads="1"/>
              </p:cNvSpPr>
              <p:nvPr/>
            </p:nvSpPr>
            <p:spPr bwMode="auto">
              <a:xfrm>
                <a:off x="982662" y="1847850"/>
                <a:ext cx="269875" cy="269875"/>
              </a:xfrm>
              <a:prstGeom prst="ellipse">
                <a:avLst/>
              </a:prstGeom>
              <a:solidFill>
                <a:srgbClr val="03522D"/>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 name="Freeform 51">
                <a:extLst>
                  <a:ext uri="{FF2B5EF4-FFF2-40B4-BE49-F238E27FC236}">
                    <a16:creationId xmlns:a16="http://schemas.microsoft.com/office/drawing/2014/main" id="{82EA5A51-C374-4B68-9641-2E993AE1F859}"/>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3" name="Group 12">
              <a:extLst>
                <a:ext uri="{FF2B5EF4-FFF2-40B4-BE49-F238E27FC236}">
                  <a16:creationId xmlns:a16="http://schemas.microsoft.com/office/drawing/2014/main" id="{03F84BA5-626A-449C-BB03-14C44D4852E1}"/>
                </a:ext>
              </a:extLst>
            </p:cNvPr>
            <p:cNvGrpSpPr>
              <a:grpSpLocks noChangeAspect="1"/>
            </p:cNvGrpSpPr>
            <p:nvPr/>
          </p:nvGrpSpPr>
          <p:grpSpPr>
            <a:xfrm rot="5400000">
              <a:off x="5974600" y="3446234"/>
              <a:ext cx="306910" cy="306910"/>
              <a:chOff x="982662" y="1847850"/>
              <a:chExt cx="269875" cy="269875"/>
            </a:xfrm>
          </p:grpSpPr>
          <p:sp>
            <p:nvSpPr>
              <p:cNvPr id="14" name="Oval 50">
                <a:extLst>
                  <a:ext uri="{FF2B5EF4-FFF2-40B4-BE49-F238E27FC236}">
                    <a16:creationId xmlns:a16="http://schemas.microsoft.com/office/drawing/2014/main" id="{F2333400-5340-41EE-8E11-DA429A2E69DD}"/>
                  </a:ext>
                </a:extLst>
              </p:cNvPr>
              <p:cNvSpPr>
                <a:spLocks noChangeArrowheads="1"/>
              </p:cNvSpPr>
              <p:nvPr/>
            </p:nvSpPr>
            <p:spPr bwMode="auto">
              <a:xfrm>
                <a:off x="982662" y="1847850"/>
                <a:ext cx="269875" cy="269875"/>
              </a:xfrm>
              <a:prstGeom prst="ellipse">
                <a:avLst/>
              </a:prstGeom>
              <a:solidFill>
                <a:srgbClr val="03522D"/>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 name="Freeform 51">
                <a:extLst>
                  <a:ext uri="{FF2B5EF4-FFF2-40B4-BE49-F238E27FC236}">
                    <a16:creationId xmlns:a16="http://schemas.microsoft.com/office/drawing/2014/main" id="{FB0FAF40-57E3-42D3-96E9-218C108A6392}"/>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6" name="Group 15">
              <a:extLst>
                <a:ext uri="{FF2B5EF4-FFF2-40B4-BE49-F238E27FC236}">
                  <a16:creationId xmlns:a16="http://schemas.microsoft.com/office/drawing/2014/main" id="{787A7D65-1C40-47B1-9DF2-D36E89C9BDED}"/>
                </a:ext>
              </a:extLst>
            </p:cNvPr>
            <p:cNvGrpSpPr>
              <a:grpSpLocks noChangeAspect="1"/>
            </p:cNvGrpSpPr>
            <p:nvPr/>
          </p:nvGrpSpPr>
          <p:grpSpPr>
            <a:xfrm rot="5400000">
              <a:off x="5974600" y="5300152"/>
              <a:ext cx="306910" cy="306910"/>
              <a:chOff x="982662" y="1847850"/>
              <a:chExt cx="269875" cy="269875"/>
            </a:xfrm>
          </p:grpSpPr>
          <p:sp>
            <p:nvSpPr>
              <p:cNvPr id="17" name="Oval 50">
                <a:extLst>
                  <a:ext uri="{FF2B5EF4-FFF2-40B4-BE49-F238E27FC236}">
                    <a16:creationId xmlns:a16="http://schemas.microsoft.com/office/drawing/2014/main" id="{8AE862F4-60D6-4C99-8758-98CB67BD927B}"/>
                  </a:ext>
                </a:extLst>
              </p:cNvPr>
              <p:cNvSpPr>
                <a:spLocks noChangeArrowheads="1"/>
              </p:cNvSpPr>
              <p:nvPr/>
            </p:nvSpPr>
            <p:spPr bwMode="auto">
              <a:xfrm>
                <a:off x="982662" y="1847850"/>
                <a:ext cx="269875" cy="269875"/>
              </a:xfrm>
              <a:prstGeom prst="ellipse">
                <a:avLst/>
              </a:prstGeom>
              <a:solidFill>
                <a:srgbClr val="03522D"/>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Freeform 51">
                <a:extLst>
                  <a:ext uri="{FF2B5EF4-FFF2-40B4-BE49-F238E27FC236}">
                    <a16:creationId xmlns:a16="http://schemas.microsoft.com/office/drawing/2014/main" id="{D04F5F1F-79AE-4926-B1F4-185364F41AD7}"/>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spTree>
    <p:custDataLst>
      <p:tags r:id="rId2"/>
    </p:custDataLst>
    <p:extLst>
      <p:ext uri="{BB962C8B-B14F-4D97-AF65-F5344CB8AC3E}">
        <p14:creationId xmlns:p14="http://schemas.microsoft.com/office/powerpoint/2010/main" val="160885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63165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39" name="think-cell Slide" r:id="rId9" imgW="270" imgH="270" progId="TCLayout.ActiveDocument.1">
                  <p:embed/>
                </p:oleObj>
              </mc:Choice>
              <mc:Fallback>
                <p:oleObj name="think-cell Slide" r:id="rId9" imgW="270" imgH="270" progId="TCLayout.ActiveDocument.1">
                  <p:embed/>
                  <p:pic>
                    <p:nvPicPr>
                      <p:cNvPr id="16" name="Object 1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29400" y="593689"/>
            <a:ext cx="10933200" cy="470898"/>
          </a:xfrm>
        </p:spPr>
        <p:txBody>
          <a:bodyPr/>
          <a:lstStyle/>
          <a:p>
            <a:r>
              <a:rPr lang="en-US" dirty="0"/>
              <a:t>Limitations on committee members</a:t>
            </a:r>
          </a:p>
        </p:txBody>
      </p:sp>
      <p:sp>
        <p:nvSpPr>
          <p:cNvPr id="26" name="TextBox 25"/>
          <p:cNvSpPr txBox="1"/>
          <p:nvPr/>
        </p:nvSpPr>
        <p:spPr>
          <a:xfrm>
            <a:off x="4797520" y="4835260"/>
            <a:ext cx="2596961" cy="1231106"/>
          </a:xfrm>
          <a:prstGeom prst="rect">
            <a:avLst/>
          </a:prstGeom>
          <a:noFill/>
        </p:spPr>
        <p:txBody>
          <a:bodyPr wrap="square" lIns="0" tIns="0" rIns="0" bIns="0" rtlCol="0" anchor="t">
            <a:spAutoFit/>
          </a:bodyPr>
          <a:lstStyle/>
          <a:p>
            <a:pPr algn="ctr"/>
            <a:r>
              <a:rPr lang="en-US" sz="2000" dirty="0">
                <a:solidFill>
                  <a:srgbClr val="29BA74"/>
                </a:solidFill>
              </a:rPr>
              <a:t>Any Affiliation: </a:t>
            </a:r>
            <a:r>
              <a:rPr lang="en-US" sz="2000" dirty="0"/>
              <a:t>Donors, alums, parents, etc. must disclose any affiliation</a:t>
            </a:r>
          </a:p>
        </p:txBody>
      </p:sp>
      <p:sp>
        <p:nvSpPr>
          <p:cNvPr id="28" name="TextBox 27"/>
          <p:cNvSpPr txBox="1"/>
          <p:nvPr/>
        </p:nvSpPr>
        <p:spPr>
          <a:xfrm>
            <a:off x="8582154" y="4835260"/>
            <a:ext cx="2516981" cy="923330"/>
          </a:xfrm>
          <a:prstGeom prst="rect">
            <a:avLst/>
          </a:prstGeom>
          <a:noFill/>
        </p:spPr>
        <p:txBody>
          <a:bodyPr wrap="square" lIns="0" tIns="0" rIns="0" bIns="0" rtlCol="0" anchor="t">
            <a:spAutoFit/>
          </a:bodyPr>
          <a:lstStyle/>
          <a:p>
            <a:pPr algn="ctr"/>
            <a:r>
              <a:rPr lang="en-US" sz="2000" dirty="0">
                <a:solidFill>
                  <a:srgbClr val="29BA74"/>
                </a:solidFill>
              </a:rPr>
              <a:t>Undergraduates:</a:t>
            </a:r>
          </a:p>
          <a:p>
            <a:pPr algn="ctr"/>
            <a:r>
              <a:rPr lang="en-US" sz="2000" dirty="0"/>
              <a:t>Ineligible for committee</a:t>
            </a:r>
          </a:p>
        </p:txBody>
      </p:sp>
      <p:sp>
        <p:nvSpPr>
          <p:cNvPr id="30" name="TextBox 29"/>
          <p:cNvSpPr txBox="1"/>
          <p:nvPr/>
        </p:nvSpPr>
        <p:spPr>
          <a:xfrm>
            <a:off x="1020482" y="4835260"/>
            <a:ext cx="2661746" cy="1231106"/>
          </a:xfrm>
          <a:prstGeom prst="rect">
            <a:avLst/>
          </a:prstGeom>
          <a:noFill/>
        </p:spPr>
        <p:txBody>
          <a:bodyPr wrap="square" lIns="0" tIns="0" rIns="0" bIns="0" rtlCol="0" anchor="t">
            <a:spAutoFit/>
          </a:bodyPr>
          <a:lstStyle/>
          <a:p>
            <a:pPr algn="ctr"/>
            <a:r>
              <a:rPr lang="en-US" sz="2000" dirty="0">
                <a:solidFill>
                  <a:srgbClr val="29BA74"/>
                </a:solidFill>
              </a:rPr>
              <a:t>Coaches: </a:t>
            </a:r>
          </a:p>
          <a:p>
            <a:pPr algn="ctr"/>
            <a:r>
              <a:rPr lang="en-US" sz="2000" dirty="0"/>
              <a:t>Permitted but cannot discuss/vote their own team</a:t>
            </a:r>
          </a:p>
        </p:txBody>
      </p:sp>
      <p:grpSp>
        <p:nvGrpSpPr>
          <p:cNvPr id="13" name="Group 12">
            <a:extLst>
              <a:ext uri="{FF2B5EF4-FFF2-40B4-BE49-F238E27FC236}">
                <a16:creationId xmlns:a16="http://schemas.microsoft.com/office/drawing/2014/main" id="{689EDBFC-4678-4111-B5DA-C4F7C2F45766}"/>
              </a:ext>
            </a:extLst>
          </p:cNvPr>
          <p:cNvGrpSpPr/>
          <p:nvPr/>
        </p:nvGrpSpPr>
        <p:grpSpPr>
          <a:xfrm>
            <a:off x="8677702" y="2260940"/>
            <a:ext cx="2325886" cy="2325886"/>
            <a:chOff x="1904935" y="2609711"/>
            <a:chExt cx="2325886" cy="2325886"/>
          </a:xfrm>
        </p:grpSpPr>
        <p:sp>
          <p:nvSpPr>
            <p:cNvPr id="14" name="Oval 13">
              <a:extLst>
                <a:ext uri="{FF2B5EF4-FFF2-40B4-BE49-F238E27FC236}">
                  <a16:creationId xmlns:a16="http://schemas.microsoft.com/office/drawing/2014/main" id="{2EE49D64-FA72-41D9-B0A4-A92B1AAFEC39}"/>
                </a:ext>
              </a:extLst>
            </p:cNvPr>
            <p:cNvSpPr/>
            <p:nvPr>
              <p:custDataLst>
                <p:tags r:id="rId6"/>
              </p:custDataLst>
            </p:nvPr>
          </p:nvSpPr>
          <p:spPr>
            <a:xfrm>
              <a:off x="1904935" y="2609711"/>
              <a:ext cx="2325886" cy="2325886"/>
            </a:xfrm>
            <a:prstGeom prst="ellipse">
              <a:avLst/>
            </a:prstGeom>
            <a:solidFill>
              <a:srgbClr val="FFFFFF"/>
            </a:solidFill>
            <a:ln w="76200">
              <a:gradFill flip="none" rotWithShape="1">
                <a:gsLst>
                  <a:gs pos="0">
                    <a:srgbClr val="670F31"/>
                  </a:gs>
                  <a:gs pos="100000">
                    <a:srgbClr val="E71C5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15" name="Group 14">
              <a:extLst>
                <a:ext uri="{FF2B5EF4-FFF2-40B4-BE49-F238E27FC236}">
                  <a16:creationId xmlns:a16="http://schemas.microsoft.com/office/drawing/2014/main" id="{1A0CFDC7-9532-49E2-9BA8-C2531F7DA32B}"/>
                </a:ext>
              </a:extLst>
            </p:cNvPr>
            <p:cNvGrpSpPr>
              <a:grpSpLocks noChangeAspect="1"/>
            </p:cNvGrpSpPr>
            <p:nvPr/>
          </p:nvGrpSpPr>
          <p:grpSpPr>
            <a:xfrm>
              <a:off x="2245553" y="2950329"/>
              <a:ext cx="1644650" cy="1644650"/>
              <a:chOff x="5273675" y="2606675"/>
              <a:chExt cx="1644650" cy="1644650"/>
            </a:xfrm>
          </p:grpSpPr>
          <p:sp>
            <p:nvSpPr>
              <p:cNvPr id="17" name="AutoShape 3">
                <a:extLst>
                  <a:ext uri="{FF2B5EF4-FFF2-40B4-BE49-F238E27FC236}">
                    <a16:creationId xmlns:a16="http://schemas.microsoft.com/office/drawing/2014/main" id="{A1CF71C3-182C-496C-93D1-8A7F37C1740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 name="Group 17">
                <a:extLst>
                  <a:ext uri="{FF2B5EF4-FFF2-40B4-BE49-F238E27FC236}">
                    <a16:creationId xmlns:a16="http://schemas.microsoft.com/office/drawing/2014/main" id="{388080D1-869A-4E2C-97F2-4A16B5B4B83A}"/>
                  </a:ext>
                </a:extLst>
              </p:cNvPr>
              <p:cNvGrpSpPr/>
              <p:nvPr/>
            </p:nvGrpSpPr>
            <p:grpSpPr>
              <a:xfrm>
                <a:off x="5381625" y="2811463"/>
                <a:ext cx="1427163" cy="1269999"/>
                <a:chOff x="5381625" y="2811463"/>
                <a:chExt cx="1427163" cy="1269999"/>
              </a:xfrm>
            </p:grpSpPr>
            <p:sp>
              <p:nvSpPr>
                <p:cNvPr id="19" name="Freeform 11">
                  <a:extLst>
                    <a:ext uri="{FF2B5EF4-FFF2-40B4-BE49-F238E27FC236}">
                      <a16:creationId xmlns:a16="http://schemas.microsoft.com/office/drawing/2014/main" id="{E4948363-3B26-4AC3-AD41-42431F9C1AAF}"/>
                    </a:ext>
                  </a:extLst>
                </p:cNvPr>
                <p:cNvSpPr>
                  <a:spLocks/>
                </p:cNvSpPr>
                <p:nvPr/>
              </p:nvSpPr>
              <p:spPr bwMode="auto">
                <a:xfrm>
                  <a:off x="5381625" y="3019424"/>
                  <a:ext cx="1427163" cy="1062038"/>
                </a:xfrm>
                <a:custGeom>
                  <a:avLst/>
                  <a:gdLst>
                    <a:gd name="connsiteX0" fmla="*/ 76392 w 1427163"/>
                    <a:gd name="connsiteY0" fmla="*/ 938213 h 1062038"/>
                    <a:gd name="connsiteX1" fmla="*/ 1351486 w 1427163"/>
                    <a:gd name="connsiteY1" fmla="*/ 938213 h 1062038"/>
                    <a:gd name="connsiteX2" fmla="*/ 1366478 w 1427163"/>
                    <a:gd name="connsiteY2" fmla="*/ 953072 h 1062038"/>
                    <a:gd name="connsiteX3" fmla="*/ 1366478 w 1427163"/>
                    <a:gd name="connsiteY3" fmla="*/ 974299 h 1062038"/>
                    <a:gd name="connsiteX4" fmla="*/ 1412170 w 1427163"/>
                    <a:gd name="connsiteY4" fmla="*/ 974299 h 1062038"/>
                    <a:gd name="connsiteX5" fmla="*/ 1427163 w 1427163"/>
                    <a:gd name="connsiteY5" fmla="*/ 989866 h 1062038"/>
                    <a:gd name="connsiteX6" fmla="*/ 1427163 w 1427163"/>
                    <a:gd name="connsiteY6" fmla="*/ 1047179 h 1062038"/>
                    <a:gd name="connsiteX7" fmla="*/ 1412170 w 1427163"/>
                    <a:gd name="connsiteY7" fmla="*/ 1062038 h 1062038"/>
                    <a:gd name="connsiteX8" fmla="*/ 14993 w 1427163"/>
                    <a:gd name="connsiteY8" fmla="*/ 1062038 h 1062038"/>
                    <a:gd name="connsiteX9" fmla="*/ 0 w 1427163"/>
                    <a:gd name="connsiteY9" fmla="*/ 1047179 h 1062038"/>
                    <a:gd name="connsiteX10" fmla="*/ 0 w 1427163"/>
                    <a:gd name="connsiteY10" fmla="*/ 989866 h 1062038"/>
                    <a:gd name="connsiteX11" fmla="*/ 14993 w 1427163"/>
                    <a:gd name="connsiteY11" fmla="*/ 974299 h 1062038"/>
                    <a:gd name="connsiteX12" fmla="*/ 61399 w 1427163"/>
                    <a:gd name="connsiteY12" fmla="*/ 974299 h 1062038"/>
                    <a:gd name="connsiteX13" fmla="*/ 61399 w 1427163"/>
                    <a:gd name="connsiteY13" fmla="*/ 953072 h 1062038"/>
                    <a:gd name="connsiteX14" fmla="*/ 76392 w 1427163"/>
                    <a:gd name="connsiteY14" fmla="*/ 938213 h 1062038"/>
                    <a:gd name="connsiteX15" fmla="*/ 705738 w 1427163"/>
                    <a:gd name="connsiteY15" fmla="*/ 0 h 1062038"/>
                    <a:gd name="connsiteX16" fmla="*/ 711442 w 1427163"/>
                    <a:gd name="connsiteY16" fmla="*/ 0 h 1062038"/>
                    <a:gd name="connsiteX17" fmla="*/ 724991 w 1427163"/>
                    <a:gd name="connsiteY17" fmla="*/ 2857 h 1062038"/>
                    <a:gd name="connsiteX18" fmla="*/ 725705 w 1427163"/>
                    <a:gd name="connsiteY18" fmla="*/ 2857 h 1062038"/>
                    <a:gd name="connsiteX19" fmla="*/ 727844 w 1427163"/>
                    <a:gd name="connsiteY19" fmla="*/ 3571 h 1062038"/>
                    <a:gd name="connsiteX20" fmla="*/ 1192076 w 1427163"/>
                    <a:gd name="connsiteY20" fmla="*/ 232866 h 1062038"/>
                    <a:gd name="connsiteX21" fmla="*/ 1194929 w 1427163"/>
                    <a:gd name="connsiteY21" fmla="*/ 234294 h 1062038"/>
                    <a:gd name="connsiteX22" fmla="*/ 1219174 w 1427163"/>
                    <a:gd name="connsiteY22" fmla="*/ 276439 h 1062038"/>
                    <a:gd name="connsiteX23" fmla="*/ 1219174 w 1427163"/>
                    <a:gd name="connsiteY23" fmla="*/ 456446 h 1062038"/>
                    <a:gd name="connsiteX24" fmla="*/ 1306886 w 1427163"/>
                    <a:gd name="connsiteY24" fmla="*/ 456446 h 1062038"/>
                    <a:gd name="connsiteX25" fmla="*/ 1338263 w 1427163"/>
                    <a:gd name="connsiteY25" fmla="*/ 487876 h 1062038"/>
                    <a:gd name="connsiteX26" fmla="*/ 1338263 w 1427163"/>
                    <a:gd name="connsiteY26" fmla="*/ 906463 h 1062038"/>
                    <a:gd name="connsiteX27" fmla="*/ 1306886 w 1427163"/>
                    <a:gd name="connsiteY27" fmla="*/ 906463 h 1062038"/>
                    <a:gd name="connsiteX28" fmla="*/ 1306886 w 1427163"/>
                    <a:gd name="connsiteY28" fmla="*/ 487876 h 1062038"/>
                    <a:gd name="connsiteX29" fmla="*/ 1203486 w 1427163"/>
                    <a:gd name="connsiteY29" fmla="*/ 487876 h 1062038"/>
                    <a:gd name="connsiteX30" fmla="*/ 1187798 w 1427163"/>
                    <a:gd name="connsiteY30" fmla="*/ 472161 h 1062038"/>
                    <a:gd name="connsiteX31" fmla="*/ 1187798 w 1427163"/>
                    <a:gd name="connsiteY31" fmla="*/ 276439 h 1062038"/>
                    <a:gd name="connsiteX32" fmla="*/ 1179240 w 1427163"/>
                    <a:gd name="connsiteY32" fmla="*/ 262153 h 1062038"/>
                    <a:gd name="connsiteX33" fmla="*/ 1176388 w 1427163"/>
                    <a:gd name="connsiteY33" fmla="*/ 260010 h 1062038"/>
                    <a:gd name="connsiteX34" fmla="*/ 712156 w 1427163"/>
                    <a:gd name="connsiteY34" fmla="*/ 31430 h 1062038"/>
                    <a:gd name="connsiteX35" fmla="*/ 249349 w 1427163"/>
                    <a:gd name="connsiteY35" fmla="*/ 261438 h 1062038"/>
                    <a:gd name="connsiteX36" fmla="*/ 246497 w 1427163"/>
                    <a:gd name="connsiteY36" fmla="*/ 262867 h 1062038"/>
                    <a:gd name="connsiteX37" fmla="*/ 239366 w 1427163"/>
                    <a:gd name="connsiteY37" fmla="*/ 276439 h 1062038"/>
                    <a:gd name="connsiteX38" fmla="*/ 239366 w 1427163"/>
                    <a:gd name="connsiteY38" fmla="*/ 472161 h 1062038"/>
                    <a:gd name="connsiteX39" fmla="*/ 223677 w 1427163"/>
                    <a:gd name="connsiteY39" fmla="*/ 487876 h 1062038"/>
                    <a:gd name="connsiteX40" fmla="*/ 120277 w 1427163"/>
                    <a:gd name="connsiteY40" fmla="*/ 487876 h 1062038"/>
                    <a:gd name="connsiteX41" fmla="*/ 120277 w 1427163"/>
                    <a:gd name="connsiteY41" fmla="*/ 906463 h 1062038"/>
                    <a:gd name="connsiteX42" fmla="*/ 88900 w 1427163"/>
                    <a:gd name="connsiteY42" fmla="*/ 906463 h 1062038"/>
                    <a:gd name="connsiteX43" fmla="*/ 88900 w 1427163"/>
                    <a:gd name="connsiteY43" fmla="*/ 487876 h 1062038"/>
                    <a:gd name="connsiteX44" fmla="*/ 120277 w 1427163"/>
                    <a:gd name="connsiteY44" fmla="*/ 456446 h 1062038"/>
                    <a:gd name="connsiteX45" fmla="*/ 207989 w 1427163"/>
                    <a:gd name="connsiteY45" fmla="*/ 456446 h 1062038"/>
                    <a:gd name="connsiteX46" fmla="*/ 207989 w 1427163"/>
                    <a:gd name="connsiteY46" fmla="*/ 276439 h 1062038"/>
                    <a:gd name="connsiteX47" fmla="*/ 235087 w 1427163"/>
                    <a:gd name="connsiteY47" fmla="*/ 233580 h 1062038"/>
                    <a:gd name="connsiteX48" fmla="*/ 237226 w 1427163"/>
                    <a:gd name="connsiteY48" fmla="*/ 232152 h 1062038"/>
                    <a:gd name="connsiteX49" fmla="*/ 697180 w 1427163"/>
                    <a:gd name="connsiteY49" fmla="*/ 3571 h 1062038"/>
                    <a:gd name="connsiteX50" fmla="*/ 697893 w 1427163"/>
                    <a:gd name="connsiteY50" fmla="*/ 2857 h 1062038"/>
                    <a:gd name="connsiteX51" fmla="*/ 705738 w 1427163"/>
                    <a:gd name="connsiteY51" fmla="*/ 0 h 106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27163" h="1062038">
                      <a:moveTo>
                        <a:pt x="76392" y="938213"/>
                      </a:moveTo>
                      <a:cubicBezTo>
                        <a:pt x="76392" y="938213"/>
                        <a:pt x="76392" y="938213"/>
                        <a:pt x="1351486" y="938213"/>
                      </a:cubicBezTo>
                      <a:cubicBezTo>
                        <a:pt x="1360053" y="938213"/>
                        <a:pt x="1366478" y="944581"/>
                        <a:pt x="1366478" y="953072"/>
                      </a:cubicBezTo>
                      <a:cubicBezTo>
                        <a:pt x="1366478" y="953072"/>
                        <a:pt x="1366478" y="953072"/>
                        <a:pt x="1366478" y="974299"/>
                      </a:cubicBezTo>
                      <a:cubicBezTo>
                        <a:pt x="1366478" y="974299"/>
                        <a:pt x="1366478" y="974299"/>
                        <a:pt x="1412170" y="974299"/>
                      </a:cubicBezTo>
                      <a:cubicBezTo>
                        <a:pt x="1420024" y="974299"/>
                        <a:pt x="1427163" y="981375"/>
                        <a:pt x="1427163" y="989866"/>
                      </a:cubicBezTo>
                      <a:cubicBezTo>
                        <a:pt x="1427163" y="989866"/>
                        <a:pt x="1427163" y="989866"/>
                        <a:pt x="1427163" y="1047179"/>
                      </a:cubicBezTo>
                      <a:cubicBezTo>
                        <a:pt x="1427163" y="1055670"/>
                        <a:pt x="1420024" y="1062038"/>
                        <a:pt x="1412170" y="1062038"/>
                      </a:cubicBezTo>
                      <a:cubicBezTo>
                        <a:pt x="1412170" y="1062038"/>
                        <a:pt x="1412170" y="1062038"/>
                        <a:pt x="14993" y="1062038"/>
                      </a:cubicBezTo>
                      <a:cubicBezTo>
                        <a:pt x="7140" y="1062038"/>
                        <a:pt x="0" y="1055670"/>
                        <a:pt x="0" y="1047179"/>
                      </a:cubicBezTo>
                      <a:cubicBezTo>
                        <a:pt x="0" y="1047179"/>
                        <a:pt x="0" y="1047179"/>
                        <a:pt x="0" y="989866"/>
                      </a:cubicBezTo>
                      <a:cubicBezTo>
                        <a:pt x="0" y="981375"/>
                        <a:pt x="7140" y="974299"/>
                        <a:pt x="14993" y="974299"/>
                      </a:cubicBezTo>
                      <a:cubicBezTo>
                        <a:pt x="14993" y="974299"/>
                        <a:pt x="14993" y="974299"/>
                        <a:pt x="61399" y="974299"/>
                      </a:cubicBezTo>
                      <a:cubicBezTo>
                        <a:pt x="61399" y="974299"/>
                        <a:pt x="61399" y="974299"/>
                        <a:pt x="61399" y="953072"/>
                      </a:cubicBezTo>
                      <a:cubicBezTo>
                        <a:pt x="61399" y="944581"/>
                        <a:pt x="67824" y="938213"/>
                        <a:pt x="76392" y="938213"/>
                      </a:cubicBezTo>
                      <a:close/>
                      <a:moveTo>
                        <a:pt x="705738" y="0"/>
                      </a:moveTo>
                      <a:cubicBezTo>
                        <a:pt x="707877" y="0"/>
                        <a:pt x="710016" y="0"/>
                        <a:pt x="711442" y="0"/>
                      </a:cubicBezTo>
                      <a:cubicBezTo>
                        <a:pt x="716434" y="0"/>
                        <a:pt x="721426" y="714"/>
                        <a:pt x="724991" y="2857"/>
                      </a:cubicBezTo>
                      <a:cubicBezTo>
                        <a:pt x="725705" y="2857"/>
                        <a:pt x="725705" y="2857"/>
                        <a:pt x="725705" y="2857"/>
                      </a:cubicBezTo>
                      <a:cubicBezTo>
                        <a:pt x="725705" y="2857"/>
                        <a:pt x="725705" y="2857"/>
                        <a:pt x="727844" y="3571"/>
                      </a:cubicBezTo>
                      <a:cubicBezTo>
                        <a:pt x="727844" y="3571"/>
                        <a:pt x="727844" y="3571"/>
                        <a:pt x="1192076" y="232866"/>
                      </a:cubicBezTo>
                      <a:cubicBezTo>
                        <a:pt x="1192789" y="233580"/>
                        <a:pt x="1193503" y="233580"/>
                        <a:pt x="1194929" y="234294"/>
                      </a:cubicBezTo>
                      <a:cubicBezTo>
                        <a:pt x="1209904" y="242866"/>
                        <a:pt x="1219174" y="258581"/>
                        <a:pt x="1219174" y="276439"/>
                      </a:cubicBezTo>
                      <a:cubicBezTo>
                        <a:pt x="1219174" y="276439"/>
                        <a:pt x="1219174" y="276439"/>
                        <a:pt x="1219174" y="456446"/>
                      </a:cubicBezTo>
                      <a:cubicBezTo>
                        <a:pt x="1219174" y="456446"/>
                        <a:pt x="1219174" y="456446"/>
                        <a:pt x="1306886" y="456446"/>
                      </a:cubicBezTo>
                      <a:cubicBezTo>
                        <a:pt x="1324714" y="456446"/>
                        <a:pt x="1338263" y="470018"/>
                        <a:pt x="1338263" y="487876"/>
                      </a:cubicBezTo>
                      <a:cubicBezTo>
                        <a:pt x="1338263" y="487876"/>
                        <a:pt x="1338263" y="487876"/>
                        <a:pt x="1338263" y="906463"/>
                      </a:cubicBezTo>
                      <a:cubicBezTo>
                        <a:pt x="1338263" y="906463"/>
                        <a:pt x="1338263" y="906463"/>
                        <a:pt x="1306886" y="906463"/>
                      </a:cubicBezTo>
                      <a:cubicBezTo>
                        <a:pt x="1306886" y="906463"/>
                        <a:pt x="1306886" y="906463"/>
                        <a:pt x="1306886" y="487876"/>
                      </a:cubicBezTo>
                      <a:cubicBezTo>
                        <a:pt x="1306886" y="487876"/>
                        <a:pt x="1306886" y="487876"/>
                        <a:pt x="1203486" y="487876"/>
                      </a:cubicBezTo>
                      <a:cubicBezTo>
                        <a:pt x="1194929" y="487876"/>
                        <a:pt x="1187798" y="480732"/>
                        <a:pt x="1187798" y="472161"/>
                      </a:cubicBezTo>
                      <a:cubicBezTo>
                        <a:pt x="1187798" y="472161"/>
                        <a:pt x="1187798" y="472161"/>
                        <a:pt x="1187798" y="276439"/>
                      </a:cubicBezTo>
                      <a:cubicBezTo>
                        <a:pt x="1187798" y="270010"/>
                        <a:pt x="1184232" y="264296"/>
                        <a:pt x="1179240" y="262153"/>
                      </a:cubicBezTo>
                      <a:cubicBezTo>
                        <a:pt x="1177814" y="261438"/>
                        <a:pt x="1177101" y="260724"/>
                        <a:pt x="1176388" y="260010"/>
                      </a:cubicBezTo>
                      <a:cubicBezTo>
                        <a:pt x="1176388" y="260010"/>
                        <a:pt x="1176388" y="260010"/>
                        <a:pt x="712156" y="31430"/>
                      </a:cubicBezTo>
                      <a:cubicBezTo>
                        <a:pt x="712156" y="31430"/>
                        <a:pt x="712156" y="31430"/>
                        <a:pt x="249349" y="261438"/>
                      </a:cubicBezTo>
                      <a:cubicBezTo>
                        <a:pt x="248636" y="262153"/>
                        <a:pt x="247210" y="262867"/>
                        <a:pt x="246497" y="262867"/>
                      </a:cubicBezTo>
                      <a:cubicBezTo>
                        <a:pt x="242218" y="265724"/>
                        <a:pt x="239366" y="270724"/>
                        <a:pt x="239366" y="276439"/>
                      </a:cubicBezTo>
                      <a:cubicBezTo>
                        <a:pt x="239366" y="276439"/>
                        <a:pt x="239366" y="276439"/>
                        <a:pt x="239366" y="472161"/>
                      </a:cubicBezTo>
                      <a:cubicBezTo>
                        <a:pt x="239366" y="480732"/>
                        <a:pt x="232235" y="487876"/>
                        <a:pt x="223677" y="487876"/>
                      </a:cubicBezTo>
                      <a:cubicBezTo>
                        <a:pt x="223677" y="487876"/>
                        <a:pt x="223677" y="487876"/>
                        <a:pt x="120277" y="487876"/>
                      </a:cubicBezTo>
                      <a:cubicBezTo>
                        <a:pt x="120277" y="487876"/>
                        <a:pt x="120277" y="487876"/>
                        <a:pt x="120277" y="906463"/>
                      </a:cubicBezTo>
                      <a:cubicBezTo>
                        <a:pt x="120277" y="906463"/>
                        <a:pt x="120277" y="906463"/>
                        <a:pt x="88900" y="906463"/>
                      </a:cubicBezTo>
                      <a:cubicBezTo>
                        <a:pt x="88900" y="906463"/>
                        <a:pt x="88900" y="906463"/>
                        <a:pt x="88900" y="487876"/>
                      </a:cubicBezTo>
                      <a:cubicBezTo>
                        <a:pt x="88900" y="470018"/>
                        <a:pt x="102449" y="456446"/>
                        <a:pt x="120277" y="456446"/>
                      </a:cubicBezTo>
                      <a:cubicBezTo>
                        <a:pt x="120277" y="456446"/>
                        <a:pt x="120277" y="456446"/>
                        <a:pt x="207989" y="456446"/>
                      </a:cubicBezTo>
                      <a:cubicBezTo>
                        <a:pt x="207989" y="456446"/>
                        <a:pt x="207989" y="456446"/>
                        <a:pt x="207989" y="276439"/>
                      </a:cubicBezTo>
                      <a:cubicBezTo>
                        <a:pt x="207989" y="257867"/>
                        <a:pt x="217973" y="241438"/>
                        <a:pt x="235087" y="233580"/>
                      </a:cubicBezTo>
                      <a:cubicBezTo>
                        <a:pt x="235800" y="232866"/>
                        <a:pt x="236513" y="232866"/>
                        <a:pt x="237226" y="232152"/>
                      </a:cubicBezTo>
                      <a:cubicBezTo>
                        <a:pt x="237226" y="232152"/>
                        <a:pt x="237226" y="232152"/>
                        <a:pt x="697180" y="3571"/>
                      </a:cubicBezTo>
                      <a:cubicBezTo>
                        <a:pt x="697180" y="3571"/>
                        <a:pt x="697180" y="3571"/>
                        <a:pt x="697893" y="2857"/>
                      </a:cubicBezTo>
                      <a:cubicBezTo>
                        <a:pt x="700746" y="1429"/>
                        <a:pt x="702885" y="714"/>
                        <a:pt x="70573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0" name="Freeform 12">
                  <a:extLst>
                    <a:ext uri="{FF2B5EF4-FFF2-40B4-BE49-F238E27FC236}">
                      <a16:creationId xmlns:a16="http://schemas.microsoft.com/office/drawing/2014/main" id="{6B8A66DF-8E95-4851-B2EF-F850D772FD48}"/>
                    </a:ext>
                  </a:extLst>
                </p:cNvPr>
                <p:cNvSpPr>
                  <a:spLocks noChangeArrowheads="1"/>
                </p:cNvSpPr>
                <p:nvPr/>
              </p:nvSpPr>
              <p:spPr bwMode="auto">
                <a:xfrm>
                  <a:off x="5548313" y="2811463"/>
                  <a:ext cx="1092200" cy="1114425"/>
                </a:xfrm>
                <a:custGeom>
                  <a:avLst/>
                  <a:gdLst>
                    <a:gd name="connsiteX0" fmla="*/ 1016767 w 1092200"/>
                    <a:gd name="connsiteY0" fmla="*/ 898525 h 1114425"/>
                    <a:gd name="connsiteX1" fmla="*/ 1085084 w 1092200"/>
                    <a:gd name="connsiteY1" fmla="*/ 898525 h 1114425"/>
                    <a:gd name="connsiteX2" fmla="*/ 1092200 w 1092200"/>
                    <a:gd name="connsiteY2" fmla="*/ 905581 h 1114425"/>
                    <a:gd name="connsiteX3" fmla="*/ 1092200 w 1092200"/>
                    <a:gd name="connsiteY3" fmla="*/ 974020 h 1114425"/>
                    <a:gd name="connsiteX4" fmla="*/ 1085084 w 1092200"/>
                    <a:gd name="connsiteY4" fmla="*/ 981075 h 1114425"/>
                    <a:gd name="connsiteX5" fmla="*/ 1016767 w 1092200"/>
                    <a:gd name="connsiteY5" fmla="*/ 981075 h 1114425"/>
                    <a:gd name="connsiteX6" fmla="*/ 1009650 w 1092200"/>
                    <a:gd name="connsiteY6" fmla="*/ 974020 h 1114425"/>
                    <a:gd name="connsiteX7" fmla="*/ 1009650 w 1092200"/>
                    <a:gd name="connsiteY7" fmla="*/ 905581 h 1114425"/>
                    <a:gd name="connsiteX8" fmla="*/ 1016767 w 1092200"/>
                    <a:gd name="connsiteY8" fmla="*/ 898525 h 1114425"/>
                    <a:gd name="connsiteX9" fmla="*/ 899340 w 1092200"/>
                    <a:gd name="connsiteY9" fmla="*/ 898525 h 1114425"/>
                    <a:gd name="connsiteX10" fmla="*/ 965973 w 1092200"/>
                    <a:gd name="connsiteY10" fmla="*/ 898525 h 1114425"/>
                    <a:gd name="connsiteX11" fmla="*/ 973138 w 1092200"/>
                    <a:gd name="connsiteY11" fmla="*/ 905581 h 1114425"/>
                    <a:gd name="connsiteX12" fmla="*/ 973138 w 1092200"/>
                    <a:gd name="connsiteY12" fmla="*/ 974020 h 1114425"/>
                    <a:gd name="connsiteX13" fmla="*/ 965973 w 1092200"/>
                    <a:gd name="connsiteY13" fmla="*/ 981075 h 1114425"/>
                    <a:gd name="connsiteX14" fmla="*/ 899340 w 1092200"/>
                    <a:gd name="connsiteY14" fmla="*/ 981075 h 1114425"/>
                    <a:gd name="connsiteX15" fmla="*/ 892175 w 1092200"/>
                    <a:gd name="connsiteY15" fmla="*/ 974020 h 1114425"/>
                    <a:gd name="connsiteX16" fmla="*/ 892175 w 1092200"/>
                    <a:gd name="connsiteY16" fmla="*/ 905581 h 1114425"/>
                    <a:gd name="connsiteX17" fmla="*/ 899340 w 1092200"/>
                    <a:gd name="connsiteY17" fmla="*/ 898525 h 1114425"/>
                    <a:gd name="connsiteX18" fmla="*/ 781008 w 1092200"/>
                    <a:gd name="connsiteY18" fmla="*/ 898525 h 1114425"/>
                    <a:gd name="connsiteX19" fmla="*/ 848484 w 1092200"/>
                    <a:gd name="connsiteY19" fmla="*/ 898525 h 1114425"/>
                    <a:gd name="connsiteX20" fmla="*/ 855662 w 1092200"/>
                    <a:gd name="connsiteY20" fmla="*/ 905581 h 1114425"/>
                    <a:gd name="connsiteX21" fmla="*/ 855662 w 1092200"/>
                    <a:gd name="connsiteY21" fmla="*/ 974020 h 1114425"/>
                    <a:gd name="connsiteX22" fmla="*/ 848484 w 1092200"/>
                    <a:gd name="connsiteY22" fmla="*/ 981075 h 1114425"/>
                    <a:gd name="connsiteX23" fmla="*/ 781008 w 1092200"/>
                    <a:gd name="connsiteY23" fmla="*/ 981075 h 1114425"/>
                    <a:gd name="connsiteX24" fmla="*/ 773112 w 1092200"/>
                    <a:gd name="connsiteY24" fmla="*/ 974020 h 1114425"/>
                    <a:gd name="connsiteX25" fmla="*/ 773112 w 1092200"/>
                    <a:gd name="connsiteY25" fmla="*/ 905581 h 1114425"/>
                    <a:gd name="connsiteX26" fmla="*/ 781008 w 1092200"/>
                    <a:gd name="connsiteY26" fmla="*/ 898525 h 1114425"/>
                    <a:gd name="connsiteX27" fmla="*/ 243577 w 1092200"/>
                    <a:gd name="connsiteY27" fmla="*/ 898525 h 1114425"/>
                    <a:gd name="connsiteX28" fmla="*/ 310459 w 1092200"/>
                    <a:gd name="connsiteY28" fmla="*/ 898525 h 1114425"/>
                    <a:gd name="connsiteX29" fmla="*/ 317500 w 1092200"/>
                    <a:gd name="connsiteY29" fmla="*/ 905581 h 1114425"/>
                    <a:gd name="connsiteX30" fmla="*/ 317500 w 1092200"/>
                    <a:gd name="connsiteY30" fmla="*/ 974020 h 1114425"/>
                    <a:gd name="connsiteX31" fmla="*/ 310459 w 1092200"/>
                    <a:gd name="connsiteY31" fmla="*/ 981075 h 1114425"/>
                    <a:gd name="connsiteX32" fmla="*/ 243577 w 1092200"/>
                    <a:gd name="connsiteY32" fmla="*/ 981075 h 1114425"/>
                    <a:gd name="connsiteX33" fmla="*/ 236537 w 1092200"/>
                    <a:gd name="connsiteY33" fmla="*/ 974020 h 1114425"/>
                    <a:gd name="connsiteX34" fmla="*/ 236537 w 1092200"/>
                    <a:gd name="connsiteY34" fmla="*/ 905581 h 1114425"/>
                    <a:gd name="connsiteX35" fmla="*/ 243577 w 1092200"/>
                    <a:gd name="connsiteY35" fmla="*/ 898525 h 1114425"/>
                    <a:gd name="connsiteX36" fmla="*/ 124728 w 1092200"/>
                    <a:gd name="connsiteY36" fmla="*/ 898525 h 1114425"/>
                    <a:gd name="connsiteX37" fmla="*/ 194359 w 1092200"/>
                    <a:gd name="connsiteY37" fmla="*/ 898525 h 1114425"/>
                    <a:gd name="connsiteX38" fmla="*/ 201613 w 1092200"/>
                    <a:gd name="connsiteY38" fmla="*/ 905581 h 1114425"/>
                    <a:gd name="connsiteX39" fmla="*/ 201613 w 1092200"/>
                    <a:gd name="connsiteY39" fmla="*/ 974020 h 1114425"/>
                    <a:gd name="connsiteX40" fmla="*/ 194359 w 1092200"/>
                    <a:gd name="connsiteY40" fmla="*/ 981075 h 1114425"/>
                    <a:gd name="connsiteX41" fmla="*/ 124728 w 1092200"/>
                    <a:gd name="connsiteY41" fmla="*/ 981075 h 1114425"/>
                    <a:gd name="connsiteX42" fmla="*/ 117475 w 1092200"/>
                    <a:gd name="connsiteY42" fmla="*/ 974020 h 1114425"/>
                    <a:gd name="connsiteX43" fmla="*/ 117475 w 1092200"/>
                    <a:gd name="connsiteY43" fmla="*/ 905581 h 1114425"/>
                    <a:gd name="connsiteX44" fmla="*/ 124728 w 1092200"/>
                    <a:gd name="connsiteY44" fmla="*/ 898525 h 1114425"/>
                    <a:gd name="connsiteX45" fmla="*/ 7040 w 1092200"/>
                    <a:gd name="connsiteY45" fmla="*/ 898525 h 1114425"/>
                    <a:gd name="connsiteX46" fmla="*/ 73922 w 1092200"/>
                    <a:gd name="connsiteY46" fmla="*/ 898525 h 1114425"/>
                    <a:gd name="connsiteX47" fmla="*/ 80963 w 1092200"/>
                    <a:gd name="connsiteY47" fmla="*/ 905581 h 1114425"/>
                    <a:gd name="connsiteX48" fmla="*/ 80963 w 1092200"/>
                    <a:gd name="connsiteY48" fmla="*/ 974020 h 1114425"/>
                    <a:gd name="connsiteX49" fmla="*/ 73922 w 1092200"/>
                    <a:gd name="connsiteY49" fmla="*/ 981075 h 1114425"/>
                    <a:gd name="connsiteX50" fmla="*/ 7040 w 1092200"/>
                    <a:gd name="connsiteY50" fmla="*/ 981075 h 1114425"/>
                    <a:gd name="connsiteX51" fmla="*/ 0 w 1092200"/>
                    <a:gd name="connsiteY51" fmla="*/ 974020 h 1114425"/>
                    <a:gd name="connsiteX52" fmla="*/ 0 w 1092200"/>
                    <a:gd name="connsiteY52" fmla="*/ 905581 h 1114425"/>
                    <a:gd name="connsiteX53" fmla="*/ 7040 w 1092200"/>
                    <a:gd name="connsiteY53" fmla="*/ 898525 h 1114425"/>
                    <a:gd name="connsiteX54" fmla="*/ 1016767 w 1092200"/>
                    <a:gd name="connsiteY54" fmla="*/ 781050 h 1114425"/>
                    <a:gd name="connsiteX55" fmla="*/ 1085084 w 1092200"/>
                    <a:gd name="connsiteY55" fmla="*/ 781050 h 1114425"/>
                    <a:gd name="connsiteX56" fmla="*/ 1092200 w 1092200"/>
                    <a:gd name="connsiteY56" fmla="*/ 788062 h 1114425"/>
                    <a:gd name="connsiteX57" fmla="*/ 1092200 w 1092200"/>
                    <a:gd name="connsiteY57" fmla="*/ 858177 h 1114425"/>
                    <a:gd name="connsiteX58" fmla="*/ 1085084 w 1092200"/>
                    <a:gd name="connsiteY58" fmla="*/ 865188 h 1114425"/>
                    <a:gd name="connsiteX59" fmla="*/ 1016767 w 1092200"/>
                    <a:gd name="connsiteY59" fmla="*/ 865188 h 1114425"/>
                    <a:gd name="connsiteX60" fmla="*/ 1009650 w 1092200"/>
                    <a:gd name="connsiteY60" fmla="*/ 858177 h 1114425"/>
                    <a:gd name="connsiteX61" fmla="*/ 1009650 w 1092200"/>
                    <a:gd name="connsiteY61" fmla="*/ 788062 h 1114425"/>
                    <a:gd name="connsiteX62" fmla="*/ 1016767 w 1092200"/>
                    <a:gd name="connsiteY62" fmla="*/ 781050 h 1114425"/>
                    <a:gd name="connsiteX63" fmla="*/ 899340 w 1092200"/>
                    <a:gd name="connsiteY63" fmla="*/ 781050 h 1114425"/>
                    <a:gd name="connsiteX64" fmla="*/ 965973 w 1092200"/>
                    <a:gd name="connsiteY64" fmla="*/ 781050 h 1114425"/>
                    <a:gd name="connsiteX65" fmla="*/ 973138 w 1092200"/>
                    <a:gd name="connsiteY65" fmla="*/ 788062 h 1114425"/>
                    <a:gd name="connsiteX66" fmla="*/ 973138 w 1092200"/>
                    <a:gd name="connsiteY66" fmla="*/ 858177 h 1114425"/>
                    <a:gd name="connsiteX67" fmla="*/ 965973 w 1092200"/>
                    <a:gd name="connsiteY67" fmla="*/ 865188 h 1114425"/>
                    <a:gd name="connsiteX68" fmla="*/ 899340 w 1092200"/>
                    <a:gd name="connsiteY68" fmla="*/ 865188 h 1114425"/>
                    <a:gd name="connsiteX69" fmla="*/ 892175 w 1092200"/>
                    <a:gd name="connsiteY69" fmla="*/ 858177 h 1114425"/>
                    <a:gd name="connsiteX70" fmla="*/ 892175 w 1092200"/>
                    <a:gd name="connsiteY70" fmla="*/ 788062 h 1114425"/>
                    <a:gd name="connsiteX71" fmla="*/ 899340 w 1092200"/>
                    <a:gd name="connsiteY71" fmla="*/ 781050 h 1114425"/>
                    <a:gd name="connsiteX72" fmla="*/ 781008 w 1092200"/>
                    <a:gd name="connsiteY72" fmla="*/ 781050 h 1114425"/>
                    <a:gd name="connsiteX73" fmla="*/ 848484 w 1092200"/>
                    <a:gd name="connsiteY73" fmla="*/ 781050 h 1114425"/>
                    <a:gd name="connsiteX74" fmla="*/ 855662 w 1092200"/>
                    <a:gd name="connsiteY74" fmla="*/ 788062 h 1114425"/>
                    <a:gd name="connsiteX75" fmla="*/ 855662 w 1092200"/>
                    <a:gd name="connsiteY75" fmla="*/ 858177 h 1114425"/>
                    <a:gd name="connsiteX76" fmla="*/ 848484 w 1092200"/>
                    <a:gd name="connsiteY76" fmla="*/ 865188 h 1114425"/>
                    <a:gd name="connsiteX77" fmla="*/ 781008 w 1092200"/>
                    <a:gd name="connsiteY77" fmla="*/ 865188 h 1114425"/>
                    <a:gd name="connsiteX78" fmla="*/ 773112 w 1092200"/>
                    <a:gd name="connsiteY78" fmla="*/ 858177 h 1114425"/>
                    <a:gd name="connsiteX79" fmla="*/ 773112 w 1092200"/>
                    <a:gd name="connsiteY79" fmla="*/ 788062 h 1114425"/>
                    <a:gd name="connsiteX80" fmla="*/ 781008 w 1092200"/>
                    <a:gd name="connsiteY80" fmla="*/ 781050 h 1114425"/>
                    <a:gd name="connsiteX81" fmla="*/ 547687 w 1092200"/>
                    <a:gd name="connsiteY81" fmla="*/ 781050 h 1114425"/>
                    <a:gd name="connsiteX82" fmla="*/ 661987 w 1092200"/>
                    <a:gd name="connsiteY82" fmla="*/ 856720 h 1114425"/>
                    <a:gd name="connsiteX83" fmla="*/ 661987 w 1092200"/>
                    <a:gd name="connsiteY83" fmla="*/ 1114425 h 1114425"/>
                    <a:gd name="connsiteX84" fmla="*/ 433387 w 1092200"/>
                    <a:gd name="connsiteY84" fmla="*/ 1114425 h 1114425"/>
                    <a:gd name="connsiteX85" fmla="*/ 433387 w 1092200"/>
                    <a:gd name="connsiteY85" fmla="*/ 856720 h 1114425"/>
                    <a:gd name="connsiteX86" fmla="*/ 547687 w 1092200"/>
                    <a:gd name="connsiteY86" fmla="*/ 781050 h 1114425"/>
                    <a:gd name="connsiteX87" fmla="*/ 243577 w 1092200"/>
                    <a:gd name="connsiteY87" fmla="*/ 781050 h 1114425"/>
                    <a:gd name="connsiteX88" fmla="*/ 310459 w 1092200"/>
                    <a:gd name="connsiteY88" fmla="*/ 781050 h 1114425"/>
                    <a:gd name="connsiteX89" fmla="*/ 317500 w 1092200"/>
                    <a:gd name="connsiteY89" fmla="*/ 788062 h 1114425"/>
                    <a:gd name="connsiteX90" fmla="*/ 317500 w 1092200"/>
                    <a:gd name="connsiteY90" fmla="*/ 858177 h 1114425"/>
                    <a:gd name="connsiteX91" fmla="*/ 310459 w 1092200"/>
                    <a:gd name="connsiteY91" fmla="*/ 865188 h 1114425"/>
                    <a:gd name="connsiteX92" fmla="*/ 243577 w 1092200"/>
                    <a:gd name="connsiteY92" fmla="*/ 865188 h 1114425"/>
                    <a:gd name="connsiteX93" fmla="*/ 236537 w 1092200"/>
                    <a:gd name="connsiteY93" fmla="*/ 858177 h 1114425"/>
                    <a:gd name="connsiteX94" fmla="*/ 236537 w 1092200"/>
                    <a:gd name="connsiteY94" fmla="*/ 788062 h 1114425"/>
                    <a:gd name="connsiteX95" fmla="*/ 243577 w 1092200"/>
                    <a:gd name="connsiteY95" fmla="*/ 781050 h 1114425"/>
                    <a:gd name="connsiteX96" fmla="*/ 124728 w 1092200"/>
                    <a:gd name="connsiteY96" fmla="*/ 781050 h 1114425"/>
                    <a:gd name="connsiteX97" fmla="*/ 194359 w 1092200"/>
                    <a:gd name="connsiteY97" fmla="*/ 781050 h 1114425"/>
                    <a:gd name="connsiteX98" fmla="*/ 201613 w 1092200"/>
                    <a:gd name="connsiteY98" fmla="*/ 788062 h 1114425"/>
                    <a:gd name="connsiteX99" fmla="*/ 201613 w 1092200"/>
                    <a:gd name="connsiteY99" fmla="*/ 858177 h 1114425"/>
                    <a:gd name="connsiteX100" fmla="*/ 194359 w 1092200"/>
                    <a:gd name="connsiteY100" fmla="*/ 865188 h 1114425"/>
                    <a:gd name="connsiteX101" fmla="*/ 124728 w 1092200"/>
                    <a:gd name="connsiteY101" fmla="*/ 865188 h 1114425"/>
                    <a:gd name="connsiteX102" fmla="*/ 117475 w 1092200"/>
                    <a:gd name="connsiteY102" fmla="*/ 858177 h 1114425"/>
                    <a:gd name="connsiteX103" fmla="*/ 117475 w 1092200"/>
                    <a:gd name="connsiteY103" fmla="*/ 788062 h 1114425"/>
                    <a:gd name="connsiteX104" fmla="*/ 124728 w 1092200"/>
                    <a:gd name="connsiteY104" fmla="*/ 781050 h 1114425"/>
                    <a:gd name="connsiteX105" fmla="*/ 7040 w 1092200"/>
                    <a:gd name="connsiteY105" fmla="*/ 781050 h 1114425"/>
                    <a:gd name="connsiteX106" fmla="*/ 73922 w 1092200"/>
                    <a:gd name="connsiteY106" fmla="*/ 781050 h 1114425"/>
                    <a:gd name="connsiteX107" fmla="*/ 80963 w 1092200"/>
                    <a:gd name="connsiteY107" fmla="*/ 788062 h 1114425"/>
                    <a:gd name="connsiteX108" fmla="*/ 80963 w 1092200"/>
                    <a:gd name="connsiteY108" fmla="*/ 858177 h 1114425"/>
                    <a:gd name="connsiteX109" fmla="*/ 73922 w 1092200"/>
                    <a:gd name="connsiteY109" fmla="*/ 865188 h 1114425"/>
                    <a:gd name="connsiteX110" fmla="*/ 7040 w 1092200"/>
                    <a:gd name="connsiteY110" fmla="*/ 865188 h 1114425"/>
                    <a:gd name="connsiteX111" fmla="*/ 0 w 1092200"/>
                    <a:gd name="connsiteY111" fmla="*/ 858177 h 1114425"/>
                    <a:gd name="connsiteX112" fmla="*/ 0 w 1092200"/>
                    <a:gd name="connsiteY112" fmla="*/ 788062 h 1114425"/>
                    <a:gd name="connsiteX113" fmla="*/ 7040 w 1092200"/>
                    <a:gd name="connsiteY113" fmla="*/ 781050 h 1114425"/>
                    <a:gd name="connsiteX114" fmla="*/ 899340 w 1092200"/>
                    <a:gd name="connsiteY114" fmla="*/ 630237 h 1114425"/>
                    <a:gd name="connsiteX115" fmla="*/ 965973 w 1092200"/>
                    <a:gd name="connsiteY115" fmla="*/ 630237 h 1114425"/>
                    <a:gd name="connsiteX116" fmla="*/ 973138 w 1092200"/>
                    <a:gd name="connsiteY116" fmla="*/ 637261 h 1114425"/>
                    <a:gd name="connsiteX117" fmla="*/ 973138 w 1092200"/>
                    <a:gd name="connsiteY117" fmla="*/ 702588 h 1114425"/>
                    <a:gd name="connsiteX118" fmla="*/ 965973 w 1092200"/>
                    <a:gd name="connsiteY118" fmla="*/ 709612 h 1114425"/>
                    <a:gd name="connsiteX119" fmla="*/ 899340 w 1092200"/>
                    <a:gd name="connsiteY119" fmla="*/ 709612 h 1114425"/>
                    <a:gd name="connsiteX120" fmla="*/ 892175 w 1092200"/>
                    <a:gd name="connsiteY120" fmla="*/ 702588 h 1114425"/>
                    <a:gd name="connsiteX121" fmla="*/ 892175 w 1092200"/>
                    <a:gd name="connsiteY121" fmla="*/ 637261 h 1114425"/>
                    <a:gd name="connsiteX122" fmla="*/ 899340 w 1092200"/>
                    <a:gd name="connsiteY122" fmla="*/ 630237 h 1114425"/>
                    <a:gd name="connsiteX123" fmla="*/ 783466 w 1092200"/>
                    <a:gd name="connsiteY123" fmla="*/ 630237 h 1114425"/>
                    <a:gd name="connsiteX124" fmla="*/ 851659 w 1092200"/>
                    <a:gd name="connsiteY124" fmla="*/ 630237 h 1114425"/>
                    <a:gd name="connsiteX125" fmla="*/ 858837 w 1092200"/>
                    <a:gd name="connsiteY125" fmla="*/ 637261 h 1114425"/>
                    <a:gd name="connsiteX126" fmla="*/ 858837 w 1092200"/>
                    <a:gd name="connsiteY126" fmla="*/ 702588 h 1114425"/>
                    <a:gd name="connsiteX127" fmla="*/ 851659 w 1092200"/>
                    <a:gd name="connsiteY127" fmla="*/ 709612 h 1114425"/>
                    <a:gd name="connsiteX128" fmla="*/ 783466 w 1092200"/>
                    <a:gd name="connsiteY128" fmla="*/ 709612 h 1114425"/>
                    <a:gd name="connsiteX129" fmla="*/ 776287 w 1092200"/>
                    <a:gd name="connsiteY129" fmla="*/ 702588 h 1114425"/>
                    <a:gd name="connsiteX130" fmla="*/ 776287 w 1092200"/>
                    <a:gd name="connsiteY130" fmla="*/ 637261 h 1114425"/>
                    <a:gd name="connsiteX131" fmla="*/ 783466 w 1092200"/>
                    <a:gd name="connsiteY131" fmla="*/ 630237 h 1114425"/>
                    <a:gd name="connsiteX132" fmla="*/ 664390 w 1092200"/>
                    <a:gd name="connsiteY132" fmla="*/ 630237 h 1114425"/>
                    <a:gd name="connsiteX133" fmla="*/ 731023 w 1092200"/>
                    <a:gd name="connsiteY133" fmla="*/ 630237 h 1114425"/>
                    <a:gd name="connsiteX134" fmla="*/ 738188 w 1092200"/>
                    <a:gd name="connsiteY134" fmla="*/ 637261 h 1114425"/>
                    <a:gd name="connsiteX135" fmla="*/ 738188 w 1092200"/>
                    <a:gd name="connsiteY135" fmla="*/ 702588 h 1114425"/>
                    <a:gd name="connsiteX136" fmla="*/ 731023 w 1092200"/>
                    <a:gd name="connsiteY136" fmla="*/ 709612 h 1114425"/>
                    <a:gd name="connsiteX137" fmla="*/ 664390 w 1092200"/>
                    <a:gd name="connsiteY137" fmla="*/ 709612 h 1114425"/>
                    <a:gd name="connsiteX138" fmla="*/ 657225 w 1092200"/>
                    <a:gd name="connsiteY138" fmla="*/ 702588 h 1114425"/>
                    <a:gd name="connsiteX139" fmla="*/ 657225 w 1092200"/>
                    <a:gd name="connsiteY139" fmla="*/ 637261 h 1114425"/>
                    <a:gd name="connsiteX140" fmla="*/ 664390 w 1092200"/>
                    <a:gd name="connsiteY140" fmla="*/ 630237 h 1114425"/>
                    <a:gd name="connsiteX141" fmla="*/ 364317 w 1092200"/>
                    <a:gd name="connsiteY141" fmla="*/ 630237 h 1114425"/>
                    <a:gd name="connsiteX142" fmla="*/ 434194 w 1092200"/>
                    <a:gd name="connsiteY142" fmla="*/ 630237 h 1114425"/>
                    <a:gd name="connsiteX143" fmla="*/ 441325 w 1092200"/>
                    <a:gd name="connsiteY143" fmla="*/ 637261 h 1114425"/>
                    <a:gd name="connsiteX144" fmla="*/ 441325 w 1092200"/>
                    <a:gd name="connsiteY144" fmla="*/ 702588 h 1114425"/>
                    <a:gd name="connsiteX145" fmla="*/ 434194 w 1092200"/>
                    <a:gd name="connsiteY145" fmla="*/ 709612 h 1114425"/>
                    <a:gd name="connsiteX146" fmla="*/ 364317 w 1092200"/>
                    <a:gd name="connsiteY146" fmla="*/ 709612 h 1114425"/>
                    <a:gd name="connsiteX147" fmla="*/ 357187 w 1092200"/>
                    <a:gd name="connsiteY147" fmla="*/ 702588 h 1114425"/>
                    <a:gd name="connsiteX148" fmla="*/ 357187 w 1092200"/>
                    <a:gd name="connsiteY148" fmla="*/ 637261 h 1114425"/>
                    <a:gd name="connsiteX149" fmla="*/ 364317 w 1092200"/>
                    <a:gd name="connsiteY149" fmla="*/ 630237 h 1114425"/>
                    <a:gd name="connsiteX150" fmla="*/ 248465 w 1092200"/>
                    <a:gd name="connsiteY150" fmla="*/ 630237 h 1114425"/>
                    <a:gd name="connsiteX151" fmla="*/ 315098 w 1092200"/>
                    <a:gd name="connsiteY151" fmla="*/ 630237 h 1114425"/>
                    <a:gd name="connsiteX152" fmla="*/ 322263 w 1092200"/>
                    <a:gd name="connsiteY152" fmla="*/ 637261 h 1114425"/>
                    <a:gd name="connsiteX153" fmla="*/ 322263 w 1092200"/>
                    <a:gd name="connsiteY153" fmla="*/ 702588 h 1114425"/>
                    <a:gd name="connsiteX154" fmla="*/ 315098 w 1092200"/>
                    <a:gd name="connsiteY154" fmla="*/ 709612 h 1114425"/>
                    <a:gd name="connsiteX155" fmla="*/ 248465 w 1092200"/>
                    <a:gd name="connsiteY155" fmla="*/ 709612 h 1114425"/>
                    <a:gd name="connsiteX156" fmla="*/ 241300 w 1092200"/>
                    <a:gd name="connsiteY156" fmla="*/ 702588 h 1114425"/>
                    <a:gd name="connsiteX157" fmla="*/ 241300 w 1092200"/>
                    <a:gd name="connsiteY157" fmla="*/ 637261 h 1114425"/>
                    <a:gd name="connsiteX158" fmla="*/ 248465 w 1092200"/>
                    <a:gd name="connsiteY158" fmla="*/ 630237 h 1114425"/>
                    <a:gd name="connsiteX159" fmla="*/ 129415 w 1092200"/>
                    <a:gd name="connsiteY159" fmla="*/ 630237 h 1114425"/>
                    <a:gd name="connsiteX160" fmla="*/ 197608 w 1092200"/>
                    <a:gd name="connsiteY160" fmla="*/ 630237 h 1114425"/>
                    <a:gd name="connsiteX161" fmla="*/ 204787 w 1092200"/>
                    <a:gd name="connsiteY161" fmla="*/ 637261 h 1114425"/>
                    <a:gd name="connsiteX162" fmla="*/ 204787 w 1092200"/>
                    <a:gd name="connsiteY162" fmla="*/ 702588 h 1114425"/>
                    <a:gd name="connsiteX163" fmla="*/ 197608 w 1092200"/>
                    <a:gd name="connsiteY163" fmla="*/ 709612 h 1114425"/>
                    <a:gd name="connsiteX164" fmla="*/ 129415 w 1092200"/>
                    <a:gd name="connsiteY164" fmla="*/ 709612 h 1114425"/>
                    <a:gd name="connsiteX165" fmla="*/ 122237 w 1092200"/>
                    <a:gd name="connsiteY165" fmla="*/ 702588 h 1114425"/>
                    <a:gd name="connsiteX166" fmla="*/ 122237 w 1092200"/>
                    <a:gd name="connsiteY166" fmla="*/ 637261 h 1114425"/>
                    <a:gd name="connsiteX167" fmla="*/ 129415 w 1092200"/>
                    <a:gd name="connsiteY167" fmla="*/ 630237 h 1114425"/>
                    <a:gd name="connsiteX168" fmla="*/ 899340 w 1092200"/>
                    <a:gd name="connsiteY168" fmla="*/ 515937 h 1114425"/>
                    <a:gd name="connsiteX169" fmla="*/ 965973 w 1092200"/>
                    <a:gd name="connsiteY169" fmla="*/ 515937 h 1114425"/>
                    <a:gd name="connsiteX170" fmla="*/ 973138 w 1092200"/>
                    <a:gd name="connsiteY170" fmla="*/ 522993 h 1114425"/>
                    <a:gd name="connsiteX171" fmla="*/ 973138 w 1092200"/>
                    <a:gd name="connsiteY171" fmla="*/ 591432 h 1114425"/>
                    <a:gd name="connsiteX172" fmla="*/ 965973 w 1092200"/>
                    <a:gd name="connsiteY172" fmla="*/ 598487 h 1114425"/>
                    <a:gd name="connsiteX173" fmla="*/ 899340 w 1092200"/>
                    <a:gd name="connsiteY173" fmla="*/ 598487 h 1114425"/>
                    <a:gd name="connsiteX174" fmla="*/ 892175 w 1092200"/>
                    <a:gd name="connsiteY174" fmla="*/ 591432 h 1114425"/>
                    <a:gd name="connsiteX175" fmla="*/ 892175 w 1092200"/>
                    <a:gd name="connsiteY175" fmla="*/ 522993 h 1114425"/>
                    <a:gd name="connsiteX176" fmla="*/ 899340 w 1092200"/>
                    <a:gd name="connsiteY176" fmla="*/ 515937 h 1114425"/>
                    <a:gd name="connsiteX177" fmla="*/ 783466 w 1092200"/>
                    <a:gd name="connsiteY177" fmla="*/ 515937 h 1114425"/>
                    <a:gd name="connsiteX178" fmla="*/ 851659 w 1092200"/>
                    <a:gd name="connsiteY178" fmla="*/ 515937 h 1114425"/>
                    <a:gd name="connsiteX179" fmla="*/ 858837 w 1092200"/>
                    <a:gd name="connsiteY179" fmla="*/ 522993 h 1114425"/>
                    <a:gd name="connsiteX180" fmla="*/ 858837 w 1092200"/>
                    <a:gd name="connsiteY180" fmla="*/ 591432 h 1114425"/>
                    <a:gd name="connsiteX181" fmla="*/ 851659 w 1092200"/>
                    <a:gd name="connsiteY181" fmla="*/ 598487 h 1114425"/>
                    <a:gd name="connsiteX182" fmla="*/ 783466 w 1092200"/>
                    <a:gd name="connsiteY182" fmla="*/ 598487 h 1114425"/>
                    <a:gd name="connsiteX183" fmla="*/ 776287 w 1092200"/>
                    <a:gd name="connsiteY183" fmla="*/ 591432 h 1114425"/>
                    <a:gd name="connsiteX184" fmla="*/ 776287 w 1092200"/>
                    <a:gd name="connsiteY184" fmla="*/ 522993 h 1114425"/>
                    <a:gd name="connsiteX185" fmla="*/ 783466 w 1092200"/>
                    <a:gd name="connsiteY185" fmla="*/ 515937 h 1114425"/>
                    <a:gd name="connsiteX186" fmla="*/ 664390 w 1092200"/>
                    <a:gd name="connsiteY186" fmla="*/ 515937 h 1114425"/>
                    <a:gd name="connsiteX187" fmla="*/ 731023 w 1092200"/>
                    <a:gd name="connsiteY187" fmla="*/ 515937 h 1114425"/>
                    <a:gd name="connsiteX188" fmla="*/ 738188 w 1092200"/>
                    <a:gd name="connsiteY188" fmla="*/ 522993 h 1114425"/>
                    <a:gd name="connsiteX189" fmla="*/ 738188 w 1092200"/>
                    <a:gd name="connsiteY189" fmla="*/ 591432 h 1114425"/>
                    <a:gd name="connsiteX190" fmla="*/ 731023 w 1092200"/>
                    <a:gd name="connsiteY190" fmla="*/ 598487 h 1114425"/>
                    <a:gd name="connsiteX191" fmla="*/ 664390 w 1092200"/>
                    <a:gd name="connsiteY191" fmla="*/ 598487 h 1114425"/>
                    <a:gd name="connsiteX192" fmla="*/ 657225 w 1092200"/>
                    <a:gd name="connsiteY192" fmla="*/ 591432 h 1114425"/>
                    <a:gd name="connsiteX193" fmla="*/ 657225 w 1092200"/>
                    <a:gd name="connsiteY193" fmla="*/ 522993 h 1114425"/>
                    <a:gd name="connsiteX194" fmla="*/ 664390 w 1092200"/>
                    <a:gd name="connsiteY194" fmla="*/ 515937 h 1114425"/>
                    <a:gd name="connsiteX195" fmla="*/ 364317 w 1092200"/>
                    <a:gd name="connsiteY195" fmla="*/ 515937 h 1114425"/>
                    <a:gd name="connsiteX196" fmla="*/ 434194 w 1092200"/>
                    <a:gd name="connsiteY196" fmla="*/ 515937 h 1114425"/>
                    <a:gd name="connsiteX197" fmla="*/ 441325 w 1092200"/>
                    <a:gd name="connsiteY197" fmla="*/ 522993 h 1114425"/>
                    <a:gd name="connsiteX198" fmla="*/ 441325 w 1092200"/>
                    <a:gd name="connsiteY198" fmla="*/ 591432 h 1114425"/>
                    <a:gd name="connsiteX199" fmla="*/ 434194 w 1092200"/>
                    <a:gd name="connsiteY199" fmla="*/ 598487 h 1114425"/>
                    <a:gd name="connsiteX200" fmla="*/ 364317 w 1092200"/>
                    <a:gd name="connsiteY200" fmla="*/ 598487 h 1114425"/>
                    <a:gd name="connsiteX201" fmla="*/ 357187 w 1092200"/>
                    <a:gd name="connsiteY201" fmla="*/ 591432 h 1114425"/>
                    <a:gd name="connsiteX202" fmla="*/ 357187 w 1092200"/>
                    <a:gd name="connsiteY202" fmla="*/ 522993 h 1114425"/>
                    <a:gd name="connsiteX203" fmla="*/ 364317 w 1092200"/>
                    <a:gd name="connsiteY203" fmla="*/ 515937 h 1114425"/>
                    <a:gd name="connsiteX204" fmla="*/ 248465 w 1092200"/>
                    <a:gd name="connsiteY204" fmla="*/ 515937 h 1114425"/>
                    <a:gd name="connsiteX205" fmla="*/ 315098 w 1092200"/>
                    <a:gd name="connsiteY205" fmla="*/ 515937 h 1114425"/>
                    <a:gd name="connsiteX206" fmla="*/ 322263 w 1092200"/>
                    <a:gd name="connsiteY206" fmla="*/ 522993 h 1114425"/>
                    <a:gd name="connsiteX207" fmla="*/ 322263 w 1092200"/>
                    <a:gd name="connsiteY207" fmla="*/ 591432 h 1114425"/>
                    <a:gd name="connsiteX208" fmla="*/ 315098 w 1092200"/>
                    <a:gd name="connsiteY208" fmla="*/ 598487 h 1114425"/>
                    <a:gd name="connsiteX209" fmla="*/ 248465 w 1092200"/>
                    <a:gd name="connsiteY209" fmla="*/ 598487 h 1114425"/>
                    <a:gd name="connsiteX210" fmla="*/ 241300 w 1092200"/>
                    <a:gd name="connsiteY210" fmla="*/ 591432 h 1114425"/>
                    <a:gd name="connsiteX211" fmla="*/ 241300 w 1092200"/>
                    <a:gd name="connsiteY211" fmla="*/ 522993 h 1114425"/>
                    <a:gd name="connsiteX212" fmla="*/ 248465 w 1092200"/>
                    <a:gd name="connsiteY212" fmla="*/ 515937 h 1114425"/>
                    <a:gd name="connsiteX213" fmla="*/ 129415 w 1092200"/>
                    <a:gd name="connsiteY213" fmla="*/ 515937 h 1114425"/>
                    <a:gd name="connsiteX214" fmla="*/ 197608 w 1092200"/>
                    <a:gd name="connsiteY214" fmla="*/ 515937 h 1114425"/>
                    <a:gd name="connsiteX215" fmla="*/ 204787 w 1092200"/>
                    <a:gd name="connsiteY215" fmla="*/ 522993 h 1114425"/>
                    <a:gd name="connsiteX216" fmla="*/ 204787 w 1092200"/>
                    <a:gd name="connsiteY216" fmla="*/ 591432 h 1114425"/>
                    <a:gd name="connsiteX217" fmla="*/ 197608 w 1092200"/>
                    <a:gd name="connsiteY217" fmla="*/ 598487 h 1114425"/>
                    <a:gd name="connsiteX218" fmla="*/ 129415 w 1092200"/>
                    <a:gd name="connsiteY218" fmla="*/ 598487 h 1114425"/>
                    <a:gd name="connsiteX219" fmla="*/ 122237 w 1092200"/>
                    <a:gd name="connsiteY219" fmla="*/ 591432 h 1114425"/>
                    <a:gd name="connsiteX220" fmla="*/ 122237 w 1092200"/>
                    <a:gd name="connsiteY220" fmla="*/ 522993 h 1114425"/>
                    <a:gd name="connsiteX221" fmla="*/ 129415 w 1092200"/>
                    <a:gd name="connsiteY221" fmla="*/ 515937 h 1114425"/>
                    <a:gd name="connsiteX222" fmla="*/ 591545 w 1092200"/>
                    <a:gd name="connsiteY222" fmla="*/ 364968 h 1114425"/>
                    <a:gd name="connsiteX223" fmla="*/ 552450 w 1092200"/>
                    <a:gd name="connsiteY223" fmla="*/ 389295 h 1114425"/>
                    <a:gd name="connsiteX224" fmla="*/ 547475 w 1092200"/>
                    <a:gd name="connsiteY224" fmla="*/ 388579 h 1114425"/>
                    <a:gd name="connsiteX225" fmla="*/ 541788 w 1092200"/>
                    <a:gd name="connsiteY225" fmla="*/ 390010 h 1114425"/>
                    <a:gd name="connsiteX226" fmla="*/ 513355 w 1092200"/>
                    <a:gd name="connsiteY226" fmla="*/ 378562 h 1114425"/>
                    <a:gd name="connsiteX227" fmla="*/ 506247 w 1092200"/>
                    <a:gd name="connsiteY227" fmla="*/ 379993 h 1114425"/>
                    <a:gd name="connsiteX228" fmla="*/ 508379 w 1092200"/>
                    <a:gd name="connsiteY228" fmla="*/ 387148 h 1114425"/>
                    <a:gd name="connsiteX229" fmla="*/ 535391 w 1092200"/>
                    <a:gd name="connsiteY229" fmla="*/ 402889 h 1114425"/>
                    <a:gd name="connsiteX230" fmla="*/ 547475 w 1092200"/>
                    <a:gd name="connsiteY230" fmla="*/ 414337 h 1114425"/>
                    <a:gd name="connsiteX231" fmla="*/ 560269 w 1092200"/>
                    <a:gd name="connsiteY231" fmla="*/ 401458 h 1114425"/>
                    <a:gd name="connsiteX232" fmla="*/ 597232 w 1092200"/>
                    <a:gd name="connsiteY232" fmla="*/ 372839 h 1114425"/>
                    <a:gd name="connsiteX233" fmla="*/ 597943 w 1092200"/>
                    <a:gd name="connsiteY233" fmla="*/ 365684 h 1114425"/>
                    <a:gd name="connsiteX234" fmla="*/ 591545 w 1092200"/>
                    <a:gd name="connsiteY234" fmla="*/ 364968 h 1114425"/>
                    <a:gd name="connsiteX235" fmla="*/ 546894 w 1092200"/>
                    <a:gd name="connsiteY235" fmla="*/ 323850 h 1114425"/>
                    <a:gd name="connsiteX236" fmla="*/ 623888 w 1092200"/>
                    <a:gd name="connsiteY236" fmla="*/ 400844 h 1114425"/>
                    <a:gd name="connsiteX237" fmla="*/ 546894 w 1092200"/>
                    <a:gd name="connsiteY237" fmla="*/ 477838 h 1114425"/>
                    <a:gd name="connsiteX238" fmla="*/ 469900 w 1092200"/>
                    <a:gd name="connsiteY238" fmla="*/ 400844 h 1114425"/>
                    <a:gd name="connsiteX239" fmla="*/ 546894 w 1092200"/>
                    <a:gd name="connsiteY239" fmla="*/ 323850 h 1114425"/>
                    <a:gd name="connsiteX240" fmla="*/ 535383 w 1092200"/>
                    <a:gd name="connsiteY240" fmla="*/ 0 h 1114425"/>
                    <a:gd name="connsiteX241" fmla="*/ 557521 w 1092200"/>
                    <a:gd name="connsiteY241" fmla="*/ 0 h 1114425"/>
                    <a:gd name="connsiteX242" fmla="*/ 746762 w 1092200"/>
                    <a:gd name="connsiteY242" fmla="*/ 0 h 1114425"/>
                    <a:gd name="connsiteX243" fmla="*/ 749619 w 1092200"/>
                    <a:gd name="connsiteY243" fmla="*/ 7125 h 1114425"/>
                    <a:gd name="connsiteX244" fmla="*/ 701059 w 1092200"/>
                    <a:gd name="connsiteY244" fmla="*/ 55575 h 1114425"/>
                    <a:gd name="connsiteX245" fmla="*/ 701059 w 1092200"/>
                    <a:gd name="connsiteY245" fmla="*/ 61987 h 1114425"/>
                    <a:gd name="connsiteX246" fmla="*/ 749619 w 1092200"/>
                    <a:gd name="connsiteY246" fmla="*/ 109725 h 1114425"/>
                    <a:gd name="connsiteX247" fmla="*/ 746762 w 1092200"/>
                    <a:gd name="connsiteY247" fmla="*/ 116850 h 1114425"/>
                    <a:gd name="connsiteX248" fmla="*/ 565376 w 1092200"/>
                    <a:gd name="connsiteY248" fmla="*/ 116850 h 1114425"/>
                    <a:gd name="connsiteX249" fmla="*/ 561805 w 1092200"/>
                    <a:gd name="connsiteY249" fmla="*/ 120412 h 1114425"/>
                    <a:gd name="connsiteX250" fmla="*/ 561805 w 1092200"/>
                    <a:gd name="connsiteY250" fmla="*/ 180975 h 1114425"/>
                    <a:gd name="connsiteX251" fmla="*/ 545381 w 1092200"/>
                    <a:gd name="connsiteY251" fmla="*/ 179550 h 1114425"/>
                    <a:gd name="connsiteX252" fmla="*/ 531812 w 1092200"/>
                    <a:gd name="connsiteY252" fmla="*/ 180975 h 1114425"/>
                    <a:gd name="connsiteX253" fmla="*/ 531812 w 1092200"/>
                    <a:gd name="connsiteY253" fmla="*/ 116850 h 1114425"/>
                    <a:gd name="connsiteX254" fmla="*/ 531812 w 1092200"/>
                    <a:gd name="connsiteY254" fmla="*/ 4275 h 1114425"/>
                    <a:gd name="connsiteX255" fmla="*/ 535383 w 1092200"/>
                    <a:gd name="connsiteY255" fmla="*/ 0 h 111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1092200" h="1114425">
                      <a:moveTo>
                        <a:pt x="1016767" y="898525"/>
                      </a:moveTo>
                      <a:cubicBezTo>
                        <a:pt x="1085084" y="898525"/>
                        <a:pt x="1085084" y="898525"/>
                        <a:pt x="1085084" y="898525"/>
                      </a:cubicBezTo>
                      <a:cubicBezTo>
                        <a:pt x="1089354" y="898525"/>
                        <a:pt x="1092200" y="902053"/>
                        <a:pt x="1092200" y="905581"/>
                      </a:cubicBezTo>
                      <a:cubicBezTo>
                        <a:pt x="1092200" y="974020"/>
                        <a:pt x="1092200" y="974020"/>
                        <a:pt x="1092200" y="974020"/>
                      </a:cubicBezTo>
                      <a:cubicBezTo>
                        <a:pt x="1092200" y="978253"/>
                        <a:pt x="1089354" y="981075"/>
                        <a:pt x="1085084" y="981075"/>
                      </a:cubicBezTo>
                      <a:cubicBezTo>
                        <a:pt x="1016767" y="981075"/>
                        <a:pt x="1016767" y="981075"/>
                        <a:pt x="1016767" y="981075"/>
                      </a:cubicBezTo>
                      <a:cubicBezTo>
                        <a:pt x="1012497" y="981075"/>
                        <a:pt x="1009650" y="978253"/>
                        <a:pt x="1009650" y="974020"/>
                      </a:cubicBezTo>
                      <a:cubicBezTo>
                        <a:pt x="1009650" y="905581"/>
                        <a:pt x="1009650" y="905581"/>
                        <a:pt x="1009650" y="905581"/>
                      </a:cubicBezTo>
                      <a:cubicBezTo>
                        <a:pt x="1009650" y="902053"/>
                        <a:pt x="1012497" y="898525"/>
                        <a:pt x="1016767" y="898525"/>
                      </a:cubicBezTo>
                      <a:close/>
                      <a:moveTo>
                        <a:pt x="899340" y="898525"/>
                      </a:moveTo>
                      <a:cubicBezTo>
                        <a:pt x="965973" y="898525"/>
                        <a:pt x="965973" y="898525"/>
                        <a:pt x="965973" y="898525"/>
                      </a:cubicBezTo>
                      <a:cubicBezTo>
                        <a:pt x="970272" y="898525"/>
                        <a:pt x="973138" y="902053"/>
                        <a:pt x="973138" y="905581"/>
                      </a:cubicBezTo>
                      <a:cubicBezTo>
                        <a:pt x="973138" y="974020"/>
                        <a:pt x="973138" y="974020"/>
                        <a:pt x="973138" y="974020"/>
                      </a:cubicBezTo>
                      <a:cubicBezTo>
                        <a:pt x="973138" y="978253"/>
                        <a:pt x="970272" y="981075"/>
                        <a:pt x="965973" y="981075"/>
                      </a:cubicBezTo>
                      <a:cubicBezTo>
                        <a:pt x="899340" y="981075"/>
                        <a:pt x="899340" y="981075"/>
                        <a:pt x="899340" y="981075"/>
                      </a:cubicBezTo>
                      <a:cubicBezTo>
                        <a:pt x="895758" y="981075"/>
                        <a:pt x="892175" y="978253"/>
                        <a:pt x="892175" y="974020"/>
                      </a:cubicBezTo>
                      <a:cubicBezTo>
                        <a:pt x="892175" y="905581"/>
                        <a:pt x="892175" y="905581"/>
                        <a:pt x="892175" y="905581"/>
                      </a:cubicBezTo>
                      <a:cubicBezTo>
                        <a:pt x="892175" y="902053"/>
                        <a:pt x="895758" y="898525"/>
                        <a:pt x="899340" y="898525"/>
                      </a:cubicBezTo>
                      <a:close/>
                      <a:moveTo>
                        <a:pt x="781008" y="898525"/>
                      </a:moveTo>
                      <a:cubicBezTo>
                        <a:pt x="848484" y="898525"/>
                        <a:pt x="848484" y="898525"/>
                        <a:pt x="848484" y="898525"/>
                      </a:cubicBezTo>
                      <a:cubicBezTo>
                        <a:pt x="852073" y="898525"/>
                        <a:pt x="855662" y="902053"/>
                        <a:pt x="855662" y="905581"/>
                      </a:cubicBezTo>
                      <a:cubicBezTo>
                        <a:pt x="855662" y="974020"/>
                        <a:pt x="855662" y="974020"/>
                        <a:pt x="855662" y="974020"/>
                      </a:cubicBezTo>
                      <a:cubicBezTo>
                        <a:pt x="855662" y="978253"/>
                        <a:pt x="852073" y="981075"/>
                        <a:pt x="848484" y="981075"/>
                      </a:cubicBezTo>
                      <a:cubicBezTo>
                        <a:pt x="781008" y="981075"/>
                        <a:pt x="781008" y="981075"/>
                        <a:pt x="781008" y="981075"/>
                      </a:cubicBezTo>
                      <a:cubicBezTo>
                        <a:pt x="775984" y="981075"/>
                        <a:pt x="773112" y="978253"/>
                        <a:pt x="773112" y="974020"/>
                      </a:cubicBezTo>
                      <a:cubicBezTo>
                        <a:pt x="773112" y="905581"/>
                        <a:pt x="773112" y="905581"/>
                        <a:pt x="773112" y="905581"/>
                      </a:cubicBezTo>
                      <a:cubicBezTo>
                        <a:pt x="773112" y="902053"/>
                        <a:pt x="775984" y="898525"/>
                        <a:pt x="781008" y="898525"/>
                      </a:cubicBezTo>
                      <a:close/>
                      <a:moveTo>
                        <a:pt x="243577" y="898525"/>
                      </a:moveTo>
                      <a:cubicBezTo>
                        <a:pt x="310459" y="898525"/>
                        <a:pt x="310459" y="898525"/>
                        <a:pt x="310459" y="898525"/>
                      </a:cubicBezTo>
                      <a:cubicBezTo>
                        <a:pt x="314684" y="898525"/>
                        <a:pt x="317500" y="902053"/>
                        <a:pt x="317500" y="905581"/>
                      </a:cubicBezTo>
                      <a:cubicBezTo>
                        <a:pt x="317500" y="974020"/>
                        <a:pt x="317500" y="974020"/>
                        <a:pt x="317500" y="974020"/>
                      </a:cubicBezTo>
                      <a:cubicBezTo>
                        <a:pt x="317500" y="978253"/>
                        <a:pt x="314684" y="981075"/>
                        <a:pt x="310459" y="981075"/>
                      </a:cubicBezTo>
                      <a:cubicBezTo>
                        <a:pt x="243577" y="981075"/>
                        <a:pt x="243577" y="981075"/>
                        <a:pt x="243577" y="981075"/>
                      </a:cubicBezTo>
                      <a:cubicBezTo>
                        <a:pt x="240057" y="981075"/>
                        <a:pt x="236537" y="978253"/>
                        <a:pt x="236537" y="974020"/>
                      </a:cubicBezTo>
                      <a:cubicBezTo>
                        <a:pt x="236537" y="905581"/>
                        <a:pt x="236537" y="905581"/>
                        <a:pt x="236537" y="905581"/>
                      </a:cubicBezTo>
                      <a:cubicBezTo>
                        <a:pt x="236537" y="902053"/>
                        <a:pt x="240057" y="898525"/>
                        <a:pt x="243577" y="898525"/>
                      </a:cubicBezTo>
                      <a:close/>
                      <a:moveTo>
                        <a:pt x="124728" y="898525"/>
                      </a:moveTo>
                      <a:cubicBezTo>
                        <a:pt x="194359" y="898525"/>
                        <a:pt x="194359" y="898525"/>
                        <a:pt x="194359" y="898525"/>
                      </a:cubicBezTo>
                      <a:cubicBezTo>
                        <a:pt x="197986" y="898525"/>
                        <a:pt x="201613" y="902053"/>
                        <a:pt x="201613" y="905581"/>
                      </a:cubicBezTo>
                      <a:cubicBezTo>
                        <a:pt x="201613" y="974020"/>
                        <a:pt x="201613" y="974020"/>
                        <a:pt x="201613" y="974020"/>
                      </a:cubicBezTo>
                      <a:cubicBezTo>
                        <a:pt x="201613" y="978253"/>
                        <a:pt x="197986" y="981075"/>
                        <a:pt x="194359" y="981075"/>
                      </a:cubicBezTo>
                      <a:cubicBezTo>
                        <a:pt x="124728" y="981075"/>
                        <a:pt x="124728" y="981075"/>
                        <a:pt x="124728" y="981075"/>
                      </a:cubicBezTo>
                      <a:cubicBezTo>
                        <a:pt x="120376" y="981075"/>
                        <a:pt x="117475" y="978253"/>
                        <a:pt x="117475" y="974020"/>
                      </a:cubicBezTo>
                      <a:cubicBezTo>
                        <a:pt x="117475" y="905581"/>
                        <a:pt x="117475" y="905581"/>
                        <a:pt x="117475" y="905581"/>
                      </a:cubicBezTo>
                      <a:cubicBezTo>
                        <a:pt x="117475" y="902053"/>
                        <a:pt x="120376" y="898525"/>
                        <a:pt x="124728" y="898525"/>
                      </a:cubicBezTo>
                      <a:close/>
                      <a:moveTo>
                        <a:pt x="7040" y="898525"/>
                      </a:moveTo>
                      <a:cubicBezTo>
                        <a:pt x="73922" y="898525"/>
                        <a:pt x="73922" y="898525"/>
                        <a:pt x="73922" y="898525"/>
                      </a:cubicBezTo>
                      <a:cubicBezTo>
                        <a:pt x="78147" y="898525"/>
                        <a:pt x="80963" y="902053"/>
                        <a:pt x="80963" y="905581"/>
                      </a:cubicBezTo>
                      <a:cubicBezTo>
                        <a:pt x="80963" y="974020"/>
                        <a:pt x="80963" y="974020"/>
                        <a:pt x="80963" y="974020"/>
                      </a:cubicBezTo>
                      <a:cubicBezTo>
                        <a:pt x="80963" y="978253"/>
                        <a:pt x="78147" y="981075"/>
                        <a:pt x="73922" y="981075"/>
                      </a:cubicBezTo>
                      <a:cubicBezTo>
                        <a:pt x="7040" y="981075"/>
                        <a:pt x="7040" y="981075"/>
                        <a:pt x="7040" y="981075"/>
                      </a:cubicBezTo>
                      <a:cubicBezTo>
                        <a:pt x="3520" y="981075"/>
                        <a:pt x="0" y="978253"/>
                        <a:pt x="0" y="974020"/>
                      </a:cubicBezTo>
                      <a:cubicBezTo>
                        <a:pt x="0" y="905581"/>
                        <a:pt x="0" y="905581"/>
                        <a:pt x="0" y="905581"/>
                      </a:cubicBezTo>
                      <a:cubicBezTo>
                        <a:pt x="0" y="902053"/>
                        <a:pt x="3520" y="898525"/>
                        <a:pt x="7040" y="898525"/>
                      </a:cubicBezTo>
                      <a:close/>
                      <a:moveTo>
                        <a:pt x="1016767" y="781050"/>
                      </a:moveTo>
                      <a:cubicBezTo>
                        <a:pt x="1085084" y="781050"/>
                        <a:pt x="1085084" y="781050"/>
                        <a:pt x="1085084" y="781050"/>
                      </a:cubicBezTo>
                      <a:cubicBezTo>
                        <a:pt x="1089354" y="781050"/>
                        <a:pt x="1092200" y="784556"/>
                        <a:pt x="1092200" y="788062"/>
                      </a:cubicBezTo>
                      <a:cubicBezTo>
                        <a:pt x="1092200" y="858177"/>
                        <a:pt x="1092200" y="858177"/>
                        <a:pt x="1092200" y="858177"/>
                      </a:cubicBezTo>
                      <a:cubicBezTo>
                        <a:pt x="1092200" y="862384"/>
                        <a:pt x="1089354" y="865188"/>
                        <a:pt x="1085084" y="865188"/>
                      </a:cubicBezTo>
                      <a:cubicBezTo>
                        <a:pt x="1016767" y="865188"/>
                        <a:pt x="1016767" y="865188"/>
                        <a:pt x="1016767" y="865188"/>
                      </a:cubicBezTo>
                      <a:cubicBezTo>
                        <a:pt x="1012497" y="865188"/>
                        <a:pt x="1009650" y="862384"/>
                        <a:pt x="1009650" y="858177"/>
                      </a:cubicBezTo>
                      <a:cubicBezTo>
                        <a:pt x="1009650" y="788062"/>
                        <a:pt x="1009650" y="788062"/>
                        <a:pt x="1009650" y="788062"/>
                      </a:cubicBezTo>
                      <a:cubicBezTo>
                        <a:pt x="1009650" y="784556"/>
                        <a:pt x="1012497" y="781050"/>
                        <a:pt x="1016767" y="781050"/>
                      </a:cubicBezTo>
                      <a:close/>
                      <a:moveTo>
                        <a:pt x="899340" y="781050"/>
                      </a:moveTo>
                      <a:cubicBezTo>
                        <a:pt x="965973" y="781050"/>
                        <a:pt x="965973" y="781050"/>
                        <a:pt x="965973" y="781050"/>
                      </a:cubicBezTo>
                      <a:cubicBezTo>
                        <a:pt x="970272" y="781050"/>
                        <a:pt x="973138" y="784556"/>
                        <a:pt x="973138" y="788062"/>
                      </a:cubicBezTo>
                      <a:cubicBezTo>
                        <a:pt x="973138" y="858177"/>
                        <a:pt x="973138" y="858177"/>
                        <a:pt x="973138" y="858177"/>
                      </a:cubicBezTo>
                      <a:cubicBezTo>
                        <a:pt x="973138" y="862384"/>
                        <a:pt x="970272" y="865188"/>
                        <a:pt x="965973" y="865188"/>
                      </a:cubicBezTo>
                      <a:cubicBezTo>
                        <a:pt x="899340" y="865188"/>
                        <a:pt x="899340" y="865188"/>
                        <a:pt x="899340" y="865188"/>
                      </a:cubicBezTo>
                      <a:cubicBezTo>
                        <a:pt x="895758" y="865188"/>
                        <a:pt x="892175" y="862384"/>
                        <a:pt x="892175" y="858177"/>
                      </a:cubicBezTo>
                      <a:cubicBezTo>
                        <a:pt x="892175" y="788062"/>
                        <a:pt x="892175" y="788062"/>
                        <a:pt x="892175" y="788062"/>
                      </a:cubicBezTo>
                      <a:cubicBezTo>
                        <a:pt x="892175" y="784556"/>
                        <a:pt x="895758" y="781050"/>
                        <a:pt x="899340" y="781050"/>
                      </a:cubicBezTo>
                      <a:close/>
                      <a:moveTo>
                        <a:pt x="781008" y="781050"/>
                      </a:moveTo>
                      <a:cubicBezTo>
                        <a:pt x="848484" y="781050"/>
                        <a:pt x="848484" y="781050"/>
                        <a:pt x="848484" y="781050"/>
                      </a:cubicBezTo>
                      <a:cubicBezTo>
                        <a:pt x="852073" y="781050"/>
                        <a:pt x="855662" y="784556"/>
                        <a:pt x="855662" y="788062"/>
                      </a:cubicBezTo>
                      <a:cubicBezTo>
                        <a:pt x="855662" y="858177"/>
                        <a:pt x="855662" y="858177"/>
                        <a:pt x="855662" y="858177"/>
                      </a:cubicBezTo>
                      <a:cubicBezTo>
                        <a:pt x="855662" y="862384"/>
                        <a:pt x="852073" y="865188"/>
                        <a:pt x="848484" y="865188"/>
                      </a:cubicBezTo>
                      <a:cubicBezTo>
                        <a:pt x="781008" y="865188"/>
                        <a:pt x="781008" y="865188"/>
                        <a:pt x="781008" y="865188"/>
                      </a:cubicBezTo>
                      <a:cubicBezTo>
                        <a:pt x="775984" y="865188"/>
                        <a:pt x="773112" y="862384"/>
                        <a:pt x="773112" y="858177"/>
                      </a:cubicBezTo>
                      <a:cubicBezTo>
                        <a:pt x="773112" y="788062"/>
                        <a:pt x="773112" y="788062"/>
                        <a:pt x="773112" y="788062"/>
                      </a:cubicBezTo>
                      <a:cubicBezTo>
                        <a:pt x="773112" y="784556"/>
                        <a:pt x="775984" y="781050"/>
                        <a:pt x="781008" y="781050"/>
                      </a:cubicBezTo>
                      <a:close/>
                      <a:moveTo>
                        <a:pt x="547687" y="781050"/>
                      </a:moveTo>
                      <a:cubicBezTo>
                        <a:pt x="610552" y="781050"/>
                        <a:pt x="661987" y="815316"/>
                        <a:pt x="661987" y="856720"/>
                      </a:cubicBezTo>
                      <a:cubicBezTo>
                        <a:pt x="661987" y="1114425"/>
                        <a:pt x="661987" y="1114425"/>
                        <a:pt x="661987" y="1114425"/>
                      </a:cubicBezTo>
                      <a:cubicBezTo>
                        <a:pt x="433387" y="1114425"/>
                        <a:pt x="433387" y="1114425"/>
                        <a:pt x="433387" y="1114425"/>
                      </a:cubicBezTo>
                      <a:cubicBezTo>
                        <a:pt x="433387" y="856720"/>
                        <a:pt x="433387" y="856720"/>
                        <a:pt x="433387" y="856720"/>
                      </a:cubicBezTo>
                      <a:cubicBezTo>
                        <a:pt x="433387" y="815316"/>
                        <a:pt x="484108" y="781050"/>
                        <a:pt x="547687" y="781050"/>
                      </a:cubicBezTo>
                      <a:close/>
                      <a:moveTo>
                        <a:pt x="243577" y="781050"/>
                      </a:moveTo>
                      <a:cubicBezTo>
                        <a:pt x="310459" y="781050"/>
                        <a:pt x="310459" y="781050"/>
                        <a:pt x="310459" y="781050"/>
                      </a:cubicBezTo>
                      <a:cubicBezTo>
                        <a:pt x="314684" y="781050"/>
                        <a:pt x="317500" y="784556"/>
                        <a:pt x="317500" y="788062"/>
                      </a:cubicBezTo>
                      <a:cubicBezTo>
                        <a:pt x="317500" y="858177"/>
                        <a:pt x="317500" y="858177"/>
                        <a:pt x="317500" y="858177"/>
                      </a:cubicBezTo>
                      <a:cubicBezTo>
                        <a:pt x="317500" y="862384"/>
                        <a:pt x="314684" y="865188"/>
                        <a:pt x="310459" y="865188"/>
                      </a:cubicBezTo>
                      <a:cubicBezTo>
                        <a:pt x="243577" y="865188"/>
                        <a:pt x="243577" y="865188"/>
                        <a:pt x="243577" y="865188"/>
                      </a:cubicBezTo>
                      <a:cubicBezTo>
                        <a:pt x="240057" y="865188"/>
                        <a:pt x="236537" y="862384"/>
                        <a:pt x="236537" y="858177"/>
                      </a:cubicBezTo>
                      <a:cubicBezTo>
                        <a:pt x="236537" y="788062"/>
                        <a:pt x="236537" y="788062"/>
                        <a:pt x="236537" y="788062"/>
                      </a:cubicBezTo>
                      <a:cubicBezTo>
                        <a:pt x="236537" y="784556"/>
                        <a:pt x="240057" y="781050"/>
                        <a:pt x="243577" y="781050"/>
                      </a:cubicBezTo>
                      <a:close/>
                      <a:moveTo>
                        <a:pt x="124728" y="781050"/>
                      </a:moveTo>
                      <a:cubicBezTo>
                        <a:pt x="194359" y="781050"/>
                        <a:pt x="194359" y="781050"/>
                        <a:pt x="194359" y="781050"/>
                      </a:cubicBezTo>
                      <a:cubicBezTo>
                        <a:pt x="197986" y="781050"/>
                        <a:pt x="201613" y="784556"/>
                        <a:pt x="201613" y="788062"/>
                      </a:cubicBezTo>
                      <a:cubicBezTo>
                        <a:pt x="201613" y="858177"/>
                        <a:pt x="201613" y="858177"/>
                        <a:pt x="201613" y="858177"/>
                      </a:cubicBezTo>
                      <a:cubicBezTo>
                        <a:pt x="201613" y="862384"/>
                        <a:pt x="197986" y="865188"/>
                        <a:pt x="194359" y="865188"/>
                      </a:cubicBezTo>
                      <a:cubicBezTo>
                        <a:pt x="124728" y="865188"/>
                        <a:pt x="124728" y="865188"/>
                        <a:pt x="124728" y="865188"/>
                      </a:cubicBezTo>
                      <a:cubicBezTo>
                        <a:pt x="120376" y="865188"/>
                        <a:pt x="117475" y="862384"/>
                        <a:pt x="117475" y="858177"/>
                      </a:cubicBezTo>
                      <a:cubicBezTo>
                        <a:pt x="117475" y="788062"/>
                        <a:pt x="117475" y="788062"/>
                        <a:pt x="117475" y="788062"/>
                      </a:cubicBezTo>
                      <a:cubicBezTo>
                        <a:pt x="117475" y="784556"/>
                        <a:pt x="120376" y="781050"/>
                        <a:pt x="124728" y="781050"/>
                      </a:cubicBezTo>
                      <a:close/>
                      <a:moveTo>
                        <a:pt x="7040" y="781050"/>
                      </a:moveTo>
                      <a:cubicBezTo>
                        <a:pt x="73922" y="781050"/>
                        <a:pt x="73922" y="781050"/>
                        <a:pt x="73922" y="781050"/>
                      </a:cubicBezTo>
                      <a:cubicBezTo>
                        <a:pt x="78147" y="781050"/>
                        <a:pt x="80963" y="784556"/>
                        <a:pt x="80963" y="788062"/>
                      </a:cubicBezTo>
                      <a:cubicBezTo>
                        <a:pt x="80963" y="858177"/>
                        <a:pt x="80963" y="858177"/>
                        <a:pt x="80963" y="858177"/>
                      </a:cubicBezTo>
                      <a:cubicBezTo>
                        <a:pt x="80963" y="862384"/>
                        <a:pt x="78147" y="865188"/>
                        <a:pt x="73922" y="865188"/>
                      </a:cubicBezTo>
                      <a:cubicBezTo>
                        <a:pt x="7040" y="865188"/>
                        <a:pt x="7040" y="865188"/>
                        <a:pt x="7040" y="865188"/>
                      </a:cubicBezTo>
                      <a:cubicBezTo>
                        <a:pt x="3520" y="865188"/>
                        <a:pt x="0" y="862384"/>
                        <a:pt x="0" y="858177"/>
                      </a:cubicBezTo>
                      <a:cubicBezTo>
                        <a:pt x="0" y="788062"/>
                        <a:pt x="0" y="788062"/>
                        <a:pt x="0" y="788062"/>
                      </a:cubicBezTo>
                      <a:cubicBezTo>
                        <a:pt x="0" y="784556"/>
                        <a:pt x="3520" y="781050"/>
                        <a:pt x="7040" y="781050"/>
                      </a:cubicBezTo>
                      <a:close/>
                      <a:moveTo>
                        <a:pt x="899340" y="630237"/>
                      </a:moveTo>
                      <a:cubicBezTo>
                        <a:pt x="965973" y="630237"/>
                        <a:pt x="965973" y="630237"/>
                        <a:pt x="965973" y="630237"/>
                      </a:cubicBezTo>
                      <a:cubicBezTo>
                        <a:pt x="970272" y="630237"/>
                        <a:pt x="973138" y="633749"/>
                        <a:pt x="973138" y="637261"/>
                      </a:cubicBezTo>
                      <a:cubicBezTo>
                        <a:pt x="973138" y="702588"/>
                        <a:pt x="973138" y="702588"/>
                        <a:pt x="973138" y="702588"/>
                      </a:cubicBezTo>
                      <a:cubicBezTo>
                        <a:pt x="973138" y="706802"/>
                        <a:pt x="970272" y="709612"/>
                        <a:pt x="965973" y="709612"/>
                      </a:cubicBezTo>
                      <a:cubicBezTo>
                        <a:pt x="899340" y="709612"/>
                        <a:pt x="899340" y="709612"/>
                        <a:pt x="899340" y="709612"/>
                      </a:cubicBezTo>
                      <a:cubicBezTo>
                        <a:pt x="895758" y="709612"/>
                        <a:pt x="892175" y="706802"/>
                        <a:pt x="892175" y="702588"/>
                      </a:cubicBezTo>
                      <a:cubicBezTo>
                        <a:pt x="892175" y="637261"/>
                        <a:pt x="892175" y="637261"/>
                        <a:pt x="892175" y="637261"/>
                      </a:cubicBezTo>
                      <a:cubicBezTo>
                        <a:pt x="892175" y="633749"/>
                        <a:pt x="895758" y="630237"/>
                        <a:pt x="899340" y="630237"/>
                      </a:cubicBezTo>
                      <a:close/>
                      <a:moveTo>
                        <a:pt x="783466" y="630237"/>
                      </a:moveTo>
                      <a:cubicBezTo>
                        <a:pt x="851659" y="630237"/>
                        <a:pt x="851659" y="630237"/>
                        <a:pt x="851659" y="630237"/>
                      </a:cubicBezTo>
                      <a:cubicBezTo>
                        <a:pt x="855248" y="630237"/>
                        <a:pt x="858837" y="633749"/>
                        <a:pt x="858837" y="637261"/>
                      </a:cubicBezTo>
                      <a:cubicBezTo>
                        <a:pt x="858837" y="702588"/>
                        <a:pt x="858837" y="702588"/>
                        <a:pt x="858837" y="702588"/>
                      </a:cubicBezTo>
                      <a:cubicBezTo>
                        <a:pt x="858837" y="706802"/>
                        <a:pt x="855248" y="709612"/>
                        <a:pt x="851659" y="709612"/>
                      </a:cubicBezTo>
                      <a:cubicBezTo>
                        <a:pt x="783466" y="709612"/>
                        <a:pt x="783466" y="709612"/>
                        <a:pt x="783466" y="709612"/>
                      </a:cubicBezTo>
                      <a:cubicBezTo>
                        <a:pt x="779159" y="709612"/>
                        <a:pt x="776287" y="706802"/>
                        <a:pt x="776287" y="702588"/>
                      </a:cubicBezTo>
                      <a:cubicBezTo>
                        <a:pt x="776287" y="637261"/>
                        <a:pt x="776287" y="637261"/>
                        <a:pt x="776287" y="637261"/>
                      </a:cubicBezTo>
                      <a:cubicBezTo>
                        <a:pt x="776287" y="633749"/>
                        <a:pt x="779159" y="630237"/>
                        <a:pt x="783466" y="630237"/>
                      </a:cubicBezTo>
                      <a:close/>
                      <a:moveTo>
                        <a:pt x="664390" y="630237"/>
                      </a:moveTo>
                      <a:cubicBezTo>
                        <a:pt x="731023" y="630237"/>
                        <a:pt x="731023" y="630237"/>
                        <a:pt x="731023" y="630237"/>
                      </a:cubicBezTo>
                      <a:cubicBezTo>
                        <a:pt x="735322" y="630237"/>
                        <a:pt x="738188" y="633749"/>
                        <a:pt x="738188" y="637261"/>
                      </a:cubicBezTo>
                      <a:cubicBezTo>
                        <a:pt x="738188" y="702588"/>
                        <a:pt x="738188" y="702588"/>
                        <a:pt x="738188" y="702588"/>
                      </a:cubicBezTo>
                      <a:cubicBezTo>
                        <a:pt x="738188" y="706802"/>
                        <a:pt x="735322" y="709612"/>
                        <a:pt x="731023" y="709612"/>
                      </a:cubicBezTo>
                      <a:cubicBezTo>
                        <a:pt x="664390" y="709612"/>
                        <a:pt x="664390" y="709612"/>
                        <a:pt x="664390" y="709612"/>
                      </a:cubicBezTo>
                      <a:cubicBezTo>
                        <a:pt x="660808" y="709612"/>
                        <a:pt x="657225" y="706802"/>
                        <a:pt x="657225" y="702588"/>
                      </a:cubicBezTo>
                      <a:cubicBezTo>
                        <a:pt x="657225" y="637261"/>
                        <a:pt x="657225" y="637261"/>
                        <a:pt x="657225" y="637261"/>
                      </a:cubicBezTo>
                      <a:cubicBezTo>
                        <a:pt x="657225" y="633749"/>
                        <a:pt x="660808" y="630237"/>
                        <a:pt x="664390" y="630237"/>
                      </a:cubicBezTo>
                      <a:close/>
                      <a:moveTo>
                        <a:pt x="364317" y="630237"/>
                      </a:moveTo>
                      <a:cubicBezTo>
                        <a:pt x="434194" y="630237"/>
                        <a:pt x="434194" y="630237"/>
                        <a:pt x="434194" y="630237"/>
                      </a:cubicBezTo>
                      <a:cubicBezTo>
                        <a:pt x="437760" y="630237"/>
                        <a:pt x="441325" y="633749"/>
                        <a:pt x="441325" y="637261"/>
                      </a:cubicBezTo>
                      <a:cubicBezTo>
                        <a:pt x="441325" y="702588"/>
                        <a:pt x="441325" y="702588"/>
                        <a:pt x="441325" y="702588"/>
                      </a:cubicBezTo>
                      <a:cubicBezTo>
                        <a:pt x="441325" y="706802"/>
                        <a:pt x="437760" y="709612"/>
                        <a:pt x="434194" y="709612"/>
                      </a:cubicBezTo>
                      <a:cubicBezTo>
                        <a:pt x="364317" y="709612"/>
                        <a:pt x="364317" y="709612"/>
                        <a:pt x="364317" y="709612"/>
                      </a:cubicBezTo>
                      <a:cubicBezTo>
                        <a:pt x="360039" y="709612"/>
                        <a:pt x="357187" y="706802"/>
                        <a:pt x="357187" y="702588"/>
                      </a:cubicBezTo>
                      <a:cubicBezTo>
                        <a:pt x="357187" y="637261"/>
                        <a:pt x="357187" y="637261"/>
                        <a:pt x="357187" y="637261"/>
                      </a:cubicBezTo>
                      <a:cubicBezTo>
                        <a:pt x="357187" y="633749"/>
                        <a:pt x="360039" y="630237"/>
                        <a:pt x="364317" y="630237"/>
                      </a:cubicBezTo>
                      <a:close/>
                      <a:moveTo>
                        <a:pt x="248465" y="630237"/>
                      </a:moveTo>
                      <a:cubicBezTo>
                        <a:pt x="315098" y="630237"/>
                        <a:pt x="315098" y="630237"/>
                        <a:pt x="315098" y="630237"/>
                      </a:cubicBezTo>
                      <a:cubicBezTo>
                        <a:pt x="319397" y="630237"/>
                        <a:pt x="322263" y="633749"/>
                        <a:pt x="322263" y="637261"/>
                      </a:cubicBezTo>
                      <a:cubicBezTo>
                        <a:pt x="322263" y="702588"/>
                        <a:pt x="322263" y="702588"/>
                        <a:pt x="322263" y="702588"/>
                      </a:cubicBezTo>
                      <a:cubicBezTo>
                        <a:pt x="322263" y="706802"/>
                        <a:pt x="319397" y="709612"/>
                        <a:pt x="315098" y="709612"/>
                      </a:cubicBezTo>
                      <a:cubicBezTo>
                        <a:pt x="248465" y="709612"/>
                        <a:pt x="248465" y="709612"/>
                        <a:pt x="248465" y="709612"/>
                      </a:cubicBezTo>
                      <a:cubicBezTo>
                        <a:pt x="244882" y="709612"/>
                        <a:pt x="241300" y="706802"/>
                        <a:pt x="241300" y="702588"/>
                      </a:cubicBezTo>
                      <a:cubicBezTo>
                        <a:pt x="241300" y="637261"/>
                        <a:pt x="241300" y="637261"/>
                        <a:pt x="241300" y="637261"/>
                      </a:cubicBezTo>
                      <a:cubicBezTo>
                        <a:pt x="241300" y="633749"/>
                        <a:pt x="244882" y="630237"/>
                        <a:pt x="248465" y="630237"/>
                      </a:cubicBezTo>
                      <a:close/>
                      <a:moveTo>
                        <a:pt x="129415" y="630237"/>
                      </a:moveTo>
                      <a:cubicBezTo>
                        <a:pt x="197608" y="630237"/>
                        <a:pt x="197608" y="630237"/>
                        <a:pt x="197608" y="630237"/>
                      </a:cubicBezTo>
                      <a:cubicBezTo>
                        <a:pt x="201198" y="630237"/>
                        <a:pt x="204787" y="633749"/>
                        <a:pt x="204787" y="637261"/>
                      </a:cubicBezTo>
                      <a:cubicBezTo>
                        <a:pt x="204787" y="702588"/>
                        <a:pt x="204787" y="702588"/>
                        <a:pt x="204787" y="702588"/>
                      </a:cubicBezTo>
                      <a:cubicBezTo>
                        <a:pt x="204787" y="706802"/>
                        <a:pt x="201198" y="709612"/>
                        <a:pt x="197608" y="709612"/>
                      </a:cubicBezTo>
                      <a:cubicBezTo>
                        <a:pt x="129415" y="709612"/>
                        <a:pt x="129415" y="709612"/>
                        <a:pt x="129415" y="709612"/>
                      </a:cubicBezTo>
                      <a:cubicBezTo>
                        <a:pt x="125108" y="709612"/>
                        <a:pt x="122237" y="706802"/>
                        <a:pt x="122237" y="702588"/>
                      </a:cubicBezTo>
                      <a:cubicBezTo>
                        <a:pt x="122237" y="637261"/>
                        <a:pt x="122237" y="637261"/>
                        <a:pt x="122237" y="637261"/>
                      </a:cubicBezTo>
                      <a:cubicBezTo>
                        <a:pt x="122237" y="633749"/>
                        <a:pt x="125108" y="630237"/>
                        <a:pt x="129415" y="630237"/>
                      </a:cubicBezTo>
                      <a:close/>
                      <a:moveTo>
                        <a:pt x="899340" y="515937"/>
                      </a:moveTo>
                      <a:cubicBezTo>
                        <a:pt x="965973" y="515937"/>
                        <a:pt x="965973" y="515937"/>
                        <a:pt x="965973" y="515937"/>
                      </a:cubicBezTo>
                      <a:cubicBezTo>
                        <a:pt x="970272" y="515937"/>
                        <a:pt x="973138" y="518759"/>
                        <a:pt x="973138" y="522993"/>
                      </a:cubicBezTo>
                      <a:cubicBezTo>
                        <a:pt x="973138" y="591432"/>
                        <a:pt x="973138" y="591432"/>
                        <a:pt x="973138" y="591432"/>
                      </a:cubicBezTo>
                      <a:cubicBezTo>
                        <a:pt x="973138" y="594959"/>
                        <a:pt x="970272" y="598487"/>
                        <a:pt x="965973" y="598487"/>
                      </a:cubicBezTo>
                      <a:cubicBezTo>
                        <a:pt x="899340" y="598487"/>
                        <a:pt x="899340" y="598487"/>
                        <a:pt x="899340" y="598487"/>
                      </a:cubicBezTo>
                      <a:cubicBezTo>
                        <a:pt x="895758" y="598487"/>
                        <a:pt x="892175" y="594959"/>
                        <a:pt x="892175" y="591432"/>
                      </a:cubicBezTo>
                      <a:cubicBezTo>
                        <a:pt x="892175" y="522993"/>
                        <a:pt x="892175" y="522993"/>
                        <a:pt x="892175" y="522993"/>
                      </a:cubicBezTo>
                      <a:cubicBezTo>
                        <a:pt x="892175" y="518759"/>
                        <a:pt x="895758" y="515937"/>
                        <a:pt x="899340" y="515937"/>
                      </a:cubicBezTo>
                      <a:close/>
                      <a:moveTo>
                        <a:pt x="783466" y="515937"/>
                      </a:moveTo>
                      <a:cubicBezTo>
                        <a:pt x="851659" y="515937"/>
                        <a:pt x="851659" y="515937"/>
                        <a:pt x="851659" y="515937"/>
                      </a:cubicBezTo>
                      <a:cubicBezTo>
                        <a:pt x="855248" y="515937"/>
                        <a:pt x="858837" y="518759"/>
                        <a:pt x="858837" y="522993"/>
                      </a:cubicBezTo>
                      <a:cubicBezTo>
                        <a:pt x="858837" y="591432"/>
                        <a:pt x="858837" y="591432"/>
                        <a:pt x="858837" y="591432"/>
                      </a:cubicBezTo>
                      <a:cubicBezTo>
                        <a:pt x="858837" y="594959"/>
                        <a:pt x="855248" y="598487"/>
                        <a:pt x="851659" y="598487"/>
                      </a:cubicBezTo>
                      <a:cubicBezTo>
                        <a:pt x="783466" y="598487"/>
                        <a:pt x="783466" y="598487"/>
                        <a:pt x="783466" y="598487"/>
                      </a:cubicBezTo>
                      <a:cubicBezTo>
                        <a:pt x="779159" y="598487"/>
                        <a:pt x="776287" y="594959"/>
                        <a:pt x="776287" y="591432"/>
                      </a:cubicBezTo>
                      <a:cubicBezTo>
                        <a:pt x="776287" y="522993"/>
                        <a:pt x="776287" y="522993"/>
                        <a:pt x="776287" y="522993"/>
                      </a:cubicBezTo>
                      <a:cubicBezTo>
                        <a:pt x="776287" y="518759"/>
                        <a:pt x="779159" y="515937"/>
                        <a:pt x="783466" y="515937"/>
                      </a:cubicBezTo>
                      <a:close/>
                      <a:moveTo>
                        <a:pt x="664390" y="515937"/>
                      </a:moveTo>
                      <a:cubicBezTo>
                        <a:pt x="731023" y="515937"/>
                        <a:pt x="731023" y="515937"/>
                        <a:pt x="731023" y="515937"/>
                      </a:cubicBezTo>
                      <a:cubicBezTo>
                        <a:pt x="735322" y="515937"/>
                        <a:pt x="738188" y="518759"/>
                        <a:pt x="738188" y="522993"/>
                      </a:cubicBezTo>
                      <a:cubicBezTo>
                        <a:pt x="738188" y="591432"/>
                        <a:pt x="738188" y="591432"/>
                        <a:pt x="738188" y="591432"/>
                      </a:cubicBezTo>
                      <a:cubicBezTo>
                        <a:pt x="738188" y="594959"/>
                        <a:pt x="735322" y="598487"/>
                        <a:pt x="731023" y="598487"/>
                      </a:cubicBezTo>
                      <a:cubicBezTo>
                        <a:pt x="664390" y="598487"/>
                        <a:pt x="664390" y="598487"/>
                        <a:pt x="664390" y="598487"/>
                      </a:cubicBezTo>
                      <a:cubicBezTo>
                        <a:pt x="660808" y="598487"/>
                        <a:pt x="657225" y="594959"/>
                        <a:pt x="657225" y="591432"/>
                      </a:cubicBezTo>
                      <a:cubicBezTo>
                        <a:pt x="657225" y="522993"/>
                        <a:pt x="657225" y="522993"/>
                        <a:pt x="657225" y="522993"/>
                      </a:cubicBezTo>
                      <a:cubicBezTo>
                        <a:pt x="657225" y="518759"/>
                        <a:pt x="660808" y="515937"/>
                        <a:pt x="664390" y="515937"/>
                      </a:cubicBezTo>
                      <a:close/>
                      <a:moveTo>
                        <a:pt x="364317" y="515937"/>
                      </a:moveTo>
                      <a:cubicBezTo>
                        <a:pt x="434194" y="515937"/>
                        <a:pt x="434194" y="515937"/>
                        <a:pt x="434194" y="515937"/>
                      </a:cubicBezTo>
                      <a:cubicBezTo>
                        <a:pt x="437760" y="515937"/>
                        <a:pt x="441325" y="518759"/>
                        <a:pt x="441325" y="522993"/>
                      </a:cubicBezTo>
                      <a:cubicBezTo>
                        <a:pt x="441325" y="591432"/>
                        <a:pt x="441325" y="591432"/>
                        <a:pt x="441325" y="591432"/>
                      </a:cubicBezTo>
                      <a:cubicBezTo>
                        <a:pt x="441325" y="594959"/>
                        <a:pt x="437760" y="598487"/>
                        <a:pt x="434194" y="598487"/>
                      </a:cubicBezTo>
                      <a:cubicBezTo>
                        <a:pt x="364317" y="598487"/>
                        <a:pt x="364317" y="598487"/>
                        <a:pt x="364317" y="598487"/>
                      </a:cubicBezTo>
                      <a:cubicBezTo>
                        <a:pt x="360039" y="598487"/>
                        <a:pt x="357187" y="594959"/>
                        <a:pt x="357187" y="591432"/>
                      </a:cubicBezTo>
                      <a:cubicBezTo>
                        <a:pt x="357187" y="522993"/>
                        <a:pt x="357187" y="522993"/>
                        <a:pt x="357187" y="522993"/>
                      </a:cubicBezTo>
                      <a:cubicBezTo>
                        <a:pt x="357187" y="518759"/>
                        <a:pt x="360039" y="515937"/>
                        <a:pt x="364317" y="515937"/>
                      </a:cubicBezTo>
                      <a:close/>
                      <a:moveTo>
                        <a:pt x="248465" y="515937"/>
                      </a:moveTo>
                      <a:cubicBezTo>
                        <a:pt x="315098" y="515937"/>
                        <a:pt x="315098" y="515937"/>
                        <a:pt x="315098" y="515937"/>
                      </a:cubicBezTo>
                      <a:cubicBezTo>
                        <a:pt x="319397" y="515937"/>
                        <a:pt x="322263" y="518759"/>
                        <a:pt x="322263" y="522993"/>
                      </a:cubicBezTo>
                      <a:cubicBezTo>
                        <a:pt x="322263" y="591432"/>
                        <a:pt x="322263" y="591432"/>
                        <a:pt x="322263" y="591432"/>
                      </a:cubicBezTo>
                      <a:cubicBezTo>
                        <a:pt x="322263" y="594959"/>
                        <a:pt x="319397" y="598487"/>
                        <a:pt x="315098" y="598487"/>
                      </a:cubicBezTo>
                      <a:cubicBezTo>
                        <a:pt x="248465" y="598487"/>
                        <a:pt x="248465" y="598487"/>
                        <a:pt x="248465" y="598487"/>
                      </a:cubicBezTo>
                      <a:cubicBezTo>
                        <a:pt x="244882" y="598487"/>
                        <a:pt x="241300" y="594959"/>
                        <a:pt x="241300" y="591432"/>
                      </a:cubicBezTo>
                      <a:cubicBezTo>
                        <a:pt x="241300" y="522993"/>
                        <a:pt x="241300" y="522993"/>
                        <a:pt x="241300" y="522993"/>
                      </a:cubicBezTo>
                      <a:cubicBezTo>
                        <a:pt x="241300" y="518759"/>
                        <a:pt x="244882" y="515937"/>
                        <a:pt x="248465" y="515937"/>
                      </a:cubicBezTo>
                      <a:close/>
                      <a:moveTo>
                        <a:pt x="129415" y="515937"/>
                      </a:moveTo>
                      <a:cubicBezTo>
                        <a:pt x="197608" y="515937"/>
                        <a:pt x="197608" y="515937"/>
                        <a:pt x="197608" y="515937"/>
                      </a:cubicBezTo>
                      <a:cubicBezTo>
                        <a:pt x="201198" y="515937"/>
                        <a:pt x="204787" y="518759"/>
                        <a:pt x="204787" y="522993"/>
                      </a:cubicBezTo>
                      <a:cubicBezTo>
                        <a:pt x="204787" y="591432"/>
                        <a:pt x="204787" y="591432"/>
                        <a:pt x="204787" y="591432"/>
                      </a:cubicBezTo>
                      <a:cubicBezTo>
                        <a:pt x="204787" y="594959"/>
                        <a:pt x="201198" y="598487"/>
                        <a:pt x="197608" y="598487"/>
                      </a:cubicBezTo>
                      <a:cubicBezTo>
                        <a:pt x="129415" y="598487"/>
                        <a:pt x="129415" y="598487"/>
                        <a:pt x="129415" y="598487"/>
                      </a:cubicBezTo>
                      <a:cubicBezTo>
                        <a:pt x="125108" y="598487"/>
                        <a:pt x="122237" y="594959"/>
                        <a:pt x="122237" y="591432"/>
                      </a:cubicBezTo>
                      <a:cubicBezTo>
                        <a:pt x="122237" y="522993"/>
                        <a:pt x="122237" y="522993"/>
                        <a:pt x="122237" y="522993"/>
                      </a:cubicBezTo>
                      <a:cubicBezTo>
                        <a:pt x="122237" y="518759"/>
                        <a:pt x="125108" y="515937"/>
                        <a:pt x="129415" y="515937"/>
                      </a:cubicBezTo>
                      <a:close/>
                      <a:moveTo>
                        <a:pt x="591545" y="364968"/>
                      </a:moveTo>
                      <a:cubicBezTo>
                        <a:pt x="591545" y="364968"/>
                        <a:pt x="591545" y="364968"/>
                        <a:pt x="552450" y="389295"/>
                      </a:cubicBezTo>
                      <a:cubicBezTo>
                        <a:pt x="551029" y="389295"/>
                        <a:pt x="549607" y="388579"/>
                        <a:pt x="547475" y="388579"/>
                      </a:cubicBezTo>
                      <a:cubicBezTo>
                        <a:pt x="545342" y="388579"/>
                        <a:pt x="543210" y="389295"/>
                        <a:pt x="541788" y="390010"/>
                      </a:cubicBezTo>
                      <a:cubicBezTo>
                        <a:pt x="541788" y="390010"/>
                        <a:pt x="541788" y="390010"/>
                        <a:pt x="513355" y="378562"/>
                      </a:cubicBezTo>
                      <a:cubicBezTo>
                        <a:pt x="511223" y="377131"/>
                        <a:pt x="508379" y="377847"/>
                        <a:pt x="506247" y="379993"/>
                      </a:cubicBezTo>
                      <a:cubicBezTo>
                        <a:pt x="504825" y="382855"/>
                        <a:pt x="505536" y="385717"/>
                        <a:pt x="508379" y="387148"/>
                      </a:cubicBezTo>
                      <a:cubicBezTo>
                        <a:pt x="508379" y="387148"/>
                        <a:pt x="508379" y="387148"/>
                        <a:pt x="535391" y="402889"/>
                      </a:cubicBezTo>
                      <a:cubicBezTo>
                        <a:pt x="536101" y="409329"/>
                        <a:pt x="541077" y="414337"/>
                        <a:pt x="547475" y="414337"/>
                      </a:cubicBezTo>
                      <a:cubicBezTo>
                        <a:pt x="554583" y="414337"/>
                        <a:pt x="560269" y="408613"/>
                        <a:pt x="560269" y="401458"/>
                      </a:cubicBezTo>
                      <a:cubicBezTo>
                        <a:pt x="560269" y="401458"/>
                        <a:pt x="560269" y="401458"/>
                        <a:pt x="597232" y="372839"/>
                      </a:cubicBezTo>
                      <a:cubicBezTo>
                        <a:pt x="599364" y="371408"/>
                        <a:pt x="600075" y="367830"/>
                        <a:pt x="597943" y="365684"/>
                      </a:cubicBezTo>
                      <a:cubicBezTo>
                        <a:pt x="596521" y="363537"/>
                        <a:pt x="593678" y="363537"/>
                        <a:pt x="591545" y="364968"/>
                      </a:cubicBezTo>
                      <a:close/>
                      <a:moveTo>
                        <a:pt x="546894" y="323850"/>
                      </a:moveTo>
                      <a:cubicBezTo>
                        <a:pt x="589417" y="323850"/>
                        <a:pt x="623888" y="358321"/>
                        <a:pt x="623888" y="400844"/>
                      </a:cubicBezTo>
                      <a:cubicBezTo>
                        <a:pt x="623888" y="443367"/>
                        <a:pt x="589417" y="477838"/>
                        <a:pt x="546894" y="477838"/>
                      </a:cubicBezTo>
                      <a:cubicBezTo>
                        <a:pt x="504371" y="477838"/>
                        <a:pt x="469900" y="443367"/>
                        <a:pt x="469900" y="400844"/>
                      </a:cubicBezTo>
                      <a:cubicBezTo>
                        <a:pt x="469900" y="358321"/>
                        <a:pt x="504371" y="323850"/>
                        <a:pt x="546894" y="323850"/>
                      </a:cubicBezTo>
                      <a:close/>
                      <a:moveTo>
                        <a:pt x="535383" y="0"/>
                      </a:moveTo>
                      <a:cubicBezTo>
                        <a:pt x="535383" y="0"/>
                        <a:pt x="535383" y="0"/>
                        <a:pt x="557521" y="0"/>
                      </a:cubicBezTo>
                      <a:cubicBezTo>
                        <a:pt x="557521" y="0"/>
                        <a:pt x="557521" y="0"/>
                        <a:pt x="746762" y="0"/>
                      </a:cubicBezTo>
                      <a:cubicBezTo>
                        <a:pt x="750333" y="0"/>
                        <a:pt x="752475" y="4275"/>
                        <a:pt x="749619" y="7125"/>
                      </a:cubicBezTo>
                      <a:cubicBezTo>
                        <a:pt x="749619" y="7125"/>
                        <a:pt x="749619" y="7125"/>
                        <a:pt x="701059" y="55575"/>
                      </a:cubicBezTo>
                      <a:cubicBezTo>
                        <a:pt x="699630" y="57000"/>
                        <a:pt x="699630" y="59850"/>
                        <a:pt x="701059" y="61987"/>
                      </a:cubicBezTo>
                      <a:cubicBezTo>
                        <a:pt x="701059" y="61987"/>
                        <a:pt x="701059" y="61987"/>
                        <a:pt x="749619" y="109725"/>
                      </a:cubicBezTo>
                      <a:cubicBezTo>
                        <a:pt x="752475" y="112575"/>
                        <a:pt x="750333" y="116850"/>
                        <a:pt x="746762" y="116850"/>
                      </a:cubicBezTo>
                      <a:cubicBezTo>
                        <a:pt x="746762" y="116850"/>
                        <a:pt x="746762" y="116850"/>
                        <a:pt x="565376" y="116850"/>
                      </a:cubicBezTo>
                      <a:cubicBezTo>
                        <a:pt x="563234" y="116850"/>
                        <a:pt x="561805" y="118275"/>
                        <a:pt x="561805" y="120412"/>
                      </a:cubicBezTo>
                      <a:cubicBezTo>
                        <a:pt x="561805" y="120412"/>
                        <a:pt x="561805" y="121125"/>
                        <a:pt x="561805" y="180975"/>
                      </a:cubicBezTo>
                      <a:cubicBezTo>
                        <a:pt x="556806" y="180262"/>
                        <a:pt x="551093" y="179550"/>
                        <a:pt x="545381" y="179550"/>
                      </a:cubicBezTo>
                      <a:cubicBezTo>
                        <a:pt x="540382" y="179550"/>
                        <a:pt x="536097" y="179550"/>
                        <a:pt x="531812" y="180975"/>
                      </a:cubicBezTo>
                      <a:cubicBezTo>
                        <a:pt x="531812" y="166725"/>
                        <a:pt x="531812" y="145350"/>
                        <a:pt x="531812" y="116850"/>
                      </a:cubicBezTo>
                      <a:cubicBezTo>
                        <a:pt x="531812" y="116850"/>
                        <a:pt x="531812" y="116850"/>
                        <a:pt x="531812" y="4275"/>
                      </a:cubicBezTo>
                      <a:cubicBezTo>
                        <a:pt x="531812" y="2137"/>
                        <a:pt x="533240" y="0"/>
                        <a:pt x="53538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21" name="Group 20">
            <a:extLst>
              <a:ext uri="{FF2B5EF4-FFF2-40B4-BE49-F238E27FC236}">
                <a16:creationId xmlns:a16="http://schemas.microsoft.com/office/drawing/2014/main" id="{4F42A160-5C6B-426D-BD68-5285E713427C}"/>
              </a:ext>
            </a:extLst>
          </p:cNvPr>
          <p:cNvGrpSpPr/>
          <p:nvPr/>
        </p:nvGrpSpPr>
        <p:grpSpPr>
          <a:xfrm>
            <a:off x="1188412" y="2260940"/>
            <a:ext cx="2325886" cy="2325886"/>
            <a:chOff x="4933057" y="2266057"/>
            <a:chExt cx="2325886" cy="2325886"/>
          </a:xfrm>
        </p:grpSpPr>
        <p:sp>
          <p:nvSpPr>
            <p:cNvPr id="22" name="Oval 21">
              <a:extLst>
                <a:ext uri="{FF2B5EF4-FFF2-40B4-BE49-F238E27FC236}">
                  <a16:creationId xmlns:a16="http://schemas.microsoft.com/office/drawing/2014/main" id="{BD8E6ABF-2D53-47AA-9286-13B3F05FA2BC}"/>
                </a:ext>
              </a:extLst>
            </p:cNvPr>
            <p:cNvSpPr/>
            <p:nvPr>
              <p:custDataLst>
                <p:tags r:id="rId5"/>
              </p:custDataLst>
            </p:nvPr>
          </p:nvSpPr>
          <p:spPr>
            <a:xfrm>
              <a:off x="4933057" y="2266057"/>
              <a:ext cx="2325886" cy="2325886"/>
            </a:xfrm>
            <a:prstGeom prst="ellipse">
              <a:avLst/>
            </a:prstGeom>
            <a:solidFill>
              <a:srgbClr val="FFFFFF"/>
            </a:solidFill>
            <a:ln w="762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2000" kern="0" dirty="0">
                <a:solidFill>
                  <a:schemeClr val="bg1">
                    <a:lumMod val="50000"/>
                  </a:schemeClr>
                </a:solidFill>
              </a:endParaRPr>
            </a:p>
          </p:txBody>
        </p:sp>
        <p:grpSp>
          <p:nvGrpSpPr>
            <p:cNvPr id="23" name="Group 22">
              <a:extLst>
                <a:ext uri="{FF2B5EF4-FFF2-40B4-BE49-F238E27FC236}">
                  <a16:creationId xmlns:a16="http://schemas.microsoft.com/office/drawing/2014/main" id="{913C4C61-E9CB-4B95-8CDF-B92B61518F62}"/>
                </a:ext>
              </a:extLst>
            </p:cNvPr>
            <p:cNvGrpSpPr>
              <a:grpSpLocks noChangeAspect="1"/>
            </p:cNvGrpSpPr>
            <p:nvPr/>
          </p:nvGrpSpPr>
          <p:grpSpPr>
            <a:xfrm>
              <a:off x="5273675" y="2606675"/>
              <a:ext cx="1644650" cy="1644650"/>
              <a:chOff x="5273675" y="2606675"/>
              <a:chExt cx="1644650" cy="1644650"/>
            </a:xfrm>
          </p:grpSpPr>
          <p:sp>
            <p:nvSpPr>
              <p:cNvPr id="24" name="AutoShape 3">
                <a:extLst>
                  <a:ext uri="{FF2B5EF4-FFF2-40B4-BE49-F238E27FC236}">
                    <a16:creationId xmlns:a16="http://schemas.microsoft.com/office/drawing/2014/main" id="{4B694715-CEB7-4BB7-9BEA-C93C10157894}"/>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3" name="Group 32">
                <a:extLst>
                  <a:ext uri="{FF2B5EF4-FFF2-40B4-BE49-F238E27FC236}">
                    <a16:creationId xmlns:a16="http://schemas.microsoft.com/office/drawing/2014/main" id="{6867F2BF-739A-4F4B-B9A3-02678BC6AAA2}"/>
                  </a:ext>
                </a:extLst>
              </p:cNvPr>
              <p:cNvGrpSpPr/>
              <p:nvPr/>
            </p:nvGrpSpPr>
            <p:grpSpPr>
              <a:xfrm>
                <a:off x="5446713" y="3095625"/>
                <a:ext cx="1303338" cy="666750"/>
                <a:chOff x="5446713" y="3095625"/>
                <a:chExt cx="1303338" cy="666750"/>
              </a:xfrm>
            </p:grpSpPr>
            <p:sp>
              <p:nvSpPr>
                <p:cNvPr id="34" name="Freeform 12">
                  <a:extLst>
                    <a:ext uri="{FF2B5EF4-FFF2-40B4-BE49-F238E27FC236}">
                      <a16:creationId xmlns:a16="http://schemas.microsoft.com/office/drawing/2014/main" id="{2C32A29E-340E-404B-A2AD-4B0717132074}"/>
                    </a:ext>
                  </a:extLst>
                </p:cNvPr>
                <p:cNvSpPr>
                  <a:spLocks/>
                </p:cNvSpPr>
                <p:nvPr/>
              </p:nvSpPr>
              <p:spPr bwMode="auto">
                <a:xfrm>
                  <a:off x="5446713" y="3095625"/>
                  <a:ext cx="1303338" cy="666750"/>
                </a:xfrm>
                <a:custGeom>
                  <a:avLst/>
                  <a:gdLst>
                    <a:gd name="connsiteX0" fmla="*/ 1212680 w 1303338"/>
                    <a:gd name="connsiteY0" fmla="*/ 244475 h 666750"/>
                    <a:gd name="connsiteX1" fmla="*/ 1303338 w 1303338"/>
                    <a:gd name="connsiteY1" fmla="*/ 334169 h 666750"/>
                    <a:gd name="connsiteX2" fmla="*/ 1212680 w 1303338"/>
                    <a:gd name="connsiteY2" fmla="*/ 423863 h 666750"/>
                    <a:gd name="connsiteX3" fmla="*/ 1196975 w 1303338"/>
                    <a:gd name="connsiteY3" fmla="*/ 408202 h 666750"/>
                    <a:gd name="connsiteX4" fmla="*/ 1212680 w 1303338"/>
                    <a:gd name="connsiteY4" fmla="*/ 392541 h 666750"/>
                    <a:gd name="connsiteX5" fmla="*/ 1271929 w 1303338"/>
                    <a:gd name="connsiteY5" fmla="*/ 334169 h 666750"/>
                    <a:gd name="connsiteX6" fmla="*/ 1212680 w 1303338"/>
                    <a:gd name="connsiteY6" fmla="*/ 275797 h 666750"/>
                    <a:gd name="connsiteX7" fmla="*/ 1196975 w 1303338"/>
                    <a:gd name="connsiteY7" fmla="*/ 260136 h 666750"/>
                    <a:gd name="connsiteX8" fmla="*/ 1212680 w 1303338"/>
                    <a:gd name="connsiteY8" fmla="*/ 244475 h 666750"/>
                    <a:gd name="connsiteX9" fmla="*/ 31750 w 1303338"/>
                    <a:gd name="connsiteY9" fmla="*/ 31750 h 666750"/>
                    <a:gd name="connsiteX10" fmla="*/ 31750 w 1303338"/>
                    <a:gd name="connsiteY10" fmla="*/ 194041 h 666750"/>
                    <a:gd name="connsiteX11" fmla="*/ 364127 w 1303338"/>
                    <a:gd name="connsiteY11" fmla="*/ 194041 h 666750"/>
                    <a:gd name="connsiteX12" fmla="*/ 381245 w 1303338"/>
                    <a:gd name="connsiteY12" fmla="*/ 194756 h 666750"/>
                    <a:gd name="connsiteX13" fmla="*/ 387664 w 1303338"/>
                    <a:gd name="connsiteY13" fmla="*/ 195471 h 666750"/>
                    <a:gd name="connsiteX14" fmla="*/ 389804 w 1303338"/>
                    <a:gd name="connsiteY14" fmla="*/ 195471 h 666750"/>
                    <a:gd name="connsiteX15" fmla="*/ 394797 w 1303338"/>
                    <a:gd name="connsiteY15" fmla="*/ 196186 h 666750"/>
                    <a:gd name="connsiteX16" fmla="*/ 397650 w 1303338"/>
                    <a:gd name="connsiteY16" fmla="*/ 196901 h 666750"/>
                    <a:gd name="connsiteX17" fmla="*/ 401216 w 1303338"/>
                    <a:gd name="connsiteY17" fmla="*/ 197616 h 666750"/>
                    <a:gd name="connsiteX18" fmla="*/ 405495 w 1303338"/>
                    <a:gd name="connsiteY18" fmla="*/ 198331 h 666750"/>
                    <a:gd name="connsiteX19" fmla="*/ 406209 w 1303338"/>
                    <a:gd name="connsiteY19" fmla="*/ 198331 h 666750"/>
                    <a:gd name="connsiteX20" fmla="*/ 528175 w 1303338"/>
                    <a:gd name="connsiteY20" fmla="*/ 347753 h 666750"/>
                    <a:gd name="connsiteX21" fmla="*/ 530315 w 1303338"/>
                    <a:gd name="connsiteY21" fmla="*/ 363482 h 666750"/>
                    <a:gd name="connsiteX22" fmla="*/ 533168 w 1303338"/>
                    <a:gd name="connsiteY22" fmla="*/ 383500 h 666750"/>
                    <a:gd name="connsiteX23" fmla="*/ 536734 w 1303338"/>
                    <a:gd name="connsiteY23" fmla="*/ 397799 h 666750"/>
                    <a:gd name="connsiteX24" fmla="*/ 544580 w 1303338"/>
                    <a:gd name="connsiteY24" fmla="*/ 425681 h 666750"/>
                    <a:gd name="connsiteX25" fmla="*/ 549573 w 1303338"/>
                    <a:gd name="connsiteY25" fmla="*/ 439265 h 666750"/>
                    <a:gd name="connsiteX26" fmla="*/ 557419 w 1303338"/>
                    <a:gd name="connsiteY26" fmla="*/ 457854 h 666750"/>
                    <a:gd name="connsiteX27" fmla="*/ 566691 w 1303338"/>
                    <a:gd name="connsiteY27" fmla="*/ 476442 h 666750"/>
                    <a:gd name="connsiteX28" fmla="*/ 792792 w 1303338"/>
                    <a:gd name="connsiteY28" fmla="*/ 633013 h 666750"/>
                    <a:gd name="connsiteX29" fmla="*/ 836301 w 1303338"/>
                    <a:gd name="connsiteY29" fmla="*/ 636588 h 666750"/>
                    <a:gd name="connsiteX30" fmla="*/ 1027453 w 1303338"/>
                    <a:gd name="connsiteY30" fmla="*/ 558660 h 666750"/>
                    <a:gd name="connsiteX31" fmla="*/ 1053843 w 1303338"/>
                    <a:gd name="connsiteY31" fmla="*/ 532207 h 666750"/>
                    <a:gd name="connsiteX32" fmla="*/ 1120889 w 1303338"/>
                    <a:gd name="connsiteY32" fmla="*/ 267680 h 666750"/>
                    <a:gd name="connsiteX33" fmla="*/ 1119463 w 1303338"/>
                    <a:gd name="connsiteY33" fmla="*/ 261960 h 666750"/>
                    <a:gd name="connsiteX34" fmla="*/ 1118750 w 1303338"/>
                    <a:gd name="connsiteY34" fmla="*/ 259101 h 666750"/>
                    <a:gd name="connsiteX35" fmla="*/ 1115897 w 1303338"/>
                    <a:gd name="connsiteY35" fmla="*/ 249091 h 666750"/>
                    <a:gd name="connsiteX36" fmla="*/ 1114470 w 1303338"/>
                    <a:gd name="connsiteY36" fmla="*/ 244087 h 666750"/>
                    <a:gd name="connsiteX37" fmla="*/ 1113044 w 1303338"/>
                    <a:gd name="connsiteY37" fmla="*/ 241227 h 666750"/>
                    <a:gd name="connsiteX38" fmla="*/ 1023174 w 1303338"/>
                    <a:gd name="connsiteY38" fmla="*/ 108249 h 666750"/>
                    <a:gd name="connsiteX39" fmla="*/ 1021034 w 1303338"/>
                    <a:gd name="connsiteY39" fmla="*/ 106819 h 666750"/>
                    <a:gd name="connsiteX40" fmla="*/ 1016754 w 1303338"/>
                    <a:gd name="connsiteY40" fmla="*/ 103244 h 666750"/>
                    <a:gd name="connsiteX41" fmla="*/ 1008908 w 1303338"/>
                    <a:gd name="connsiteY41" fmla="*/ 96810 h 666750"/>
                    <a:gd name="connsiteX42" fmla="*/ 1008195 w 1303338"/>
                    <a:gd name="connsiteY42" fmla="*/ 96095 h 666750"/>
                    <a:gd name="connsiteX43" fmla="*/ 1002489 w 1303338"/>
                    <a:gd name="connsiteY43" fmla="*/ 92520 h 666750"/>
                    <a:gd name="connsiteX44" fmla="*/ 999636 w 1303338"/>
                    <a:gd name="connsiteY44" fmla="*/ 90375 h 666750"/>
                    <a:gd name="connsiteX45" fmla="*/ 996783 w 1303338"/>
                    <a:gd name="connsiteY45" fmla="*/ 88230 h 666750"/>
                    <a:gd name="connsiteX46" fmla="*/ 991077 w 1303338"/>
                    <a:gd name="connsiteY46" fmla="*/ 84656 h 666750"/>
                    <a:gd name="connsiteX47" fmla="*/ 990364 w 1303338"/>
                    <a:gd name="connsiteY47" fmla="*/ 83941 h 666750"/>
                    <a:gd name="connsiteX48" fmla="*/ 940436 w 1303338"/>
                    <a:gd name="connsiteY48" fmla="*/ 57488 h 666750"/>
                    <a:gd name="connsiteX49" fmla="*/ 936870 w 1303338"/>
                    <a:gd name="connsiteY49" fmla="*/ 56058 h 666750"/>
                    <a:gd name="connsiteX50" fmla="*/ 931164 w 1303338"/>
                    <a:gd name="connsiteY50" fmla="*/ 53913 h 666750"/>
                    <a:gd name="connsiteX51" fmla="*/ 919038 w 1303338"/>
                    <a:gd name="connsiteY51" fmla="*/ 48909 h 666750"/>
                    <a:gd name="connsiteX52" fmla="*/ 917612 w 1303338"/>
                    <a:gd name="connsiteY52" fmla="*/ 48909 h 666750"/>
                    <a:gd name="connsiteX53" fmla="*/ 834874 w 1303338"/>
                    <a:gd name="connsiteY53" fmla="*/ 32465 h 666750"/>
                    <a:gd name="connsiteX54" fmla="*/ 820609 w 1303338"/>
                    <a:gd name="connsiteY54" fmla="*/ 32465 h 666750"/>
                    <a:gd name="connsiteX55" fmla="*/ 819183 w 1303338"/>
                    <a:gd name="connsiteY55" fmla="*/ 32465 h 666750"/>
                    <a:gd name="connsiteX56" fmla="*/ 787800 w 1303338"/>
                    <a:gd name="connsiteY56" fmla="*/ 32465 h 666750"/>
                    <a:gd name="connsiteX57" fmla="*/ 763549 w 1303338"/>
                    <a:gd name="connsiteY57" fmla="*/ 32465 h 666750"/>
                    <a:gd name="connsiteX58" fmla="*/ 739298 w 1303338"/>
                    <a:gd name="connsiteY58" fmla="*/ 32465 h 666750"/>
                    <a:gd name="connsiteX59" fmla="*/ 714334 w 1303338"/>
                    <a:gd name="connsiteY59" fmla="*/ 32465 h 666750"/>
                    <a:gd name="connsiteX60" fmla="*/ 713621 w 1303338"/>
                    <a:gd name="connsiteY60" fmla="*/ 32465 h 666750"/>
                    <a:gd name="connsiteX61" fmla="*/ 713621 w 1303338"/>
                    <a:gd name="connsiteY61" fmla="*/ 38185 h 666750"/>
                    <a:gd name="connsiteX62" fmla="*/ 713621 w 1303338"/>
                    <a:gd name="connsiteY62" fmla="*/ 91090 h 666750"/>
                    <a:gd name="connsiteX63" fmla="*/ 711481 w 1303338"/>
                    <a:gd name="connsiteY63" fmla="*/ 106104 h 666750"/>
                    <a:gd name="connsiteX64" fmla="*/ 710768 w 1303338"/>
                    <a:gd name="connsiteY64" fmla="*/ 108249 h 666750"/>
                    <a:gd name="connsiteX65" fmla="*/ 689371 w 1303338"/>
                    <a:gd name="connsiteY65" fmla="*/ 136846 h 666750"/>
                    <a:gd name="connsiteX66" fmla="*/ 686518 w 1303338"/>
                    <a:gd name="connsiteY66" fmla="*/ 138276 h 666750"/>
                    <a:gd name="connsiteX67" fmla="*/ 655134 w 1303338"/>
                    <a:gd name="connsiteY67" fmla="*/ 143995 h 666750"/>
                    <a:gd name="connsiteX68" fmla="*/ 652995 w 1303338"/>
                    <a:gd name="connsiteY68" fmla="*/ 143995 h 666750"/>
                    <a:gd name="connsiteX69" fmla="*/ 650142 w 1303338"/>
                    <a:gd name="connsiteY69" fmla="*/ 143995 h 666750"/>
                    <a:gd name="connsiteX70" fmla="*/ 599501 w 1303338"/>
                    <a:gd name="connsiteY70" fmla="*/ 91090 h 666750"/>
                    <a:gd name="connsiteX71" fmla="*/ 599501 w 1303338"/>
                    <a:gd name="connsiteY71" fmla="*/ 90375 h 666750"/>
                    <a:gd name="connsiteX72" fmla="*/ 599501 w 1303338"/>
                    <a:gd name="connsiteY72" fmla="*/ 57488 h 666750"/>
                    <a:gd name="connsiteX73" fmla="*/ 599501 w 1303338"/>
                    <a:gd name="connsiteY73" fmla="*/ 56773 h 666750"/>
                    <a:gd name="connsiteX74" fmla="*/ 599501 w 1303338"/>
                    <a:gd name="connsiteY74" fmla="*/ 56058 h 666750"/>
                    <a:gd name="connsiteX75" fmla="*/ 599501 w 1303338"/>
                    <a:gd name="connsiteY75" fmla="*/ 33895 h 666750"/>
                    <a:gd name="connsiteX76" fmla="*/ 599501 w 1303338"/>
                    <a:gd name="connsiteY76" fmla="*/ 32465 h 666750"/>
                    <a:gd name="connsiteX77" fmla="*/ 598074 w 1303338"/>
                    <a:gd name="connsiteY77" fmla="*/ 32465 h 666750"/>
                    <a:gd name="connsiteX78" fmla="*/ 167269 w 1303338"/>
                    <a:gd name="connsiteY78" fmla="*/ 32465 h 666750"/>
                    <a:gd name="connsiteX79" fmla="*/ 98083 w 1303338"/>
                    <a:gd name="connsiteY79" fmla="*/ 31750 h 666750"/>
                    <a:gd name="connsiteX80" fmla="*/ 31750 w 1303338"/>
                    <a:gd name="connsiteY80" fmla="*/ 31750 h 666750"/>
                    <a:gd name="connsiteX81" fmla="*/ 18557 w 1303338"/>
                    <a:gd name="connsiteY81" fmla="*/ 0 h 666750"/>
                    <a:gd name="connsiteX82" fmla="*/ 598107 w 1303338"/>
                    <a:gd name="connsiteY82" fmla="*/ 714 h 666750"/>
                    <a:gd name="connsiteX83" fmla="*/ 630939 w 1303338"/>
                    <a:gd name="connsiteY83" fmla="*/ 32838 h 666750"/>
                    <a:gd name="connsiteX84" fmla="*/ 630939 w 1303338"/>
                    <a:gd name="connsiteY84" fmla="*/ 88519 h 666750"/>
                    <a:gd name="connsiteX85" fmla="*/ 653778 w 1303338"/>
                    <a:gd name="connsiteY85" fmla="*/ 112077 h 666750"/>
                    <a:gd name="connsiteX86" fmla="*/ 655205 w 1303338"/>
                    <a:gd name="connsiteY86" fmla="*/ 112077 h 666750"/>
                    <a:gd name="connsiteX87" fmla="*/ 682327 w 1303338"/>
                    <a:gd name="connsiteY87" fmla="*/ 89947 h 666750"/>
                    <a:gd name="connsiteX88" fmla="*/ 682327 w 1303338"/>
                    <a:gd name="connsiteY88" fmla="*/ 34266 h 666750"/>
                    <a:gd name="connsiteX89" fmla="*/ 713731 w 1303338"/>
                    <a:gd name="connsiteY89" fmla="*/ 714 h 666750"/>
                    <a:gd name="connsiteX90" fmla="*/ 739426 w 1303338"/>
                    <a:gd name="connsiteY90" fmla="*/ 714 h 666750"/>
                    <a:gd name="connsiteX91" fmla="*/ 787959 w 1303338"/>
                    <a:gd name="connsiteY91" fmla="*/ 714 h 666750"/>
                    <a:gd name="connsiteX92" fmla="*/ 819364 w 1303338"/>
                    <a:gd name="connsiteY92" fmla="*/ 714 h 666750"/>
                    <a:gd name="connsiteX93" fmla="*/ 820791 w 1303338"/>
                    <a:gd name="connsiteY93" fmla="*/ 714 h 666750"/>
                    <a:gd name="connsiteX94" fmla="*/ 943553 w 1303338"/>
                    <a:gd name="connsiteY94" fmla="*/ 24272 h 666750"/>
                    <a:gd name="connsiteX95" fmla="*/ 1077021 w 1303338"/>
                    <a:gd name="connsiteY95" fmla="*/ 551818 h 666750"/>
                    <a:gd name="connsiteX96" fmla="*/ 836493 w 1303338"/>
                    <a:gd name="connsiteY96" fmla="*/ 666750 h 666750"/>
                    <a:gd name="connsiteX97" fmla="*/ 788673 w 1303338"/>
                    <a:gd name="connsiteY97" fmla="*/ 663181 h 666750"/>
                    <a:gd name="connsiteX98" fmla="*/ 497471 w 1303338"/>
                    <a:gd name="connsiteY98" fmla="*/ 349080 h 666750"/>
                    <a:gd name="connsiteX99" fmla="*/ 364003 w 1303338"/>
                    <a:gd name="connsiteY99" fmla="*/ 224868 h 666750"/>
                    <a:gd name="connsiteX100" fmla="*/ 15702 w 1303338"/>
                    <a:gd name="connsiteY100" fmla="*/ 224868 h 666750"/>
                    <a:gd name="connsiteX101" fmla="*/ 0 w 1303338"/>
                    <a:gd name="connsiteY101" fmla="*/ 209163 h 666750"/>
                    <a:gd name="connsiteX102" fmla="*/ 0 w 1303338"/>
                    <a:gd name="connsiteY102" fmla="*/ 18561 h 666750"/>
                    <a:gd name="connsiteX103" fmla="*/ 18557 w 1303338"/>
                    <a:gd name="connsiteY103" fmla="*/ 0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303338" h="666750">
                      <a:moveTo>
                        <a:pt x="1212680" y="244475"/>
                      </a:moveTo>
                      <a:cubicBezTo>
                        <a:pt x="1263363" y="244475"/>
                        <a:pt x="1303338" y="285051"/>
                        <a:pt x="1303338" y="334169"/>
                      </a:cubicBezTo>
                      <a:cubicBezTo>
                        <a:pt x="1303338" y="383287"/>
                        <a:pt x="1263363" y="423863"/>
                        <a:pt x="1212680" y="423863"/>
                      </a:cubicBezTo>
                      <a:cubicBezTo>
                        <a:pt x="1204114" y="423863"/>
                        <a:pt x="1196975" y="416745"/>
                        <a:pt x="1196975" y="408202"/>
                      </a:cubicBezTo>
                      <a:cubicBezTo>
                        <a:pt x="1196975" y="399660"/>
                        <a:pt x="1204114" y="392541"/>
                        <a:pt x="1212680" y="392541"/>
                      </a:cubicBezTo>
                      <a:cubicBezTo>
                        <a:pt x="1245517" y="392541"/>
                        <a:pt x="1271929" y="366915"/>
                        <a:pt x="1271929" y="334169"/>
                      </a:cubicBezTo>
                      <a:cubicBezTo>
                        <a:pt x="1271929" y="301424"/>
                        <a:pt x="1245517" y="275797"/>
                        <a:pt x="1212680" y="275797"/>
                      </a:cubicBezTo>
                      <a:cubicBezTo>
                        <a:pt x="1204114" y="275797"/>
                        <a:pt x="1196975" y="268678"/>
                        <a:pt x="1196975" y="260136"/>
                      </a:cubicBezTo>
                      <a:cubicBezTo>
                        <a:pt x="1196975" y="251594"/>
                        <a:pt x="1204114" y="244475"/>
                        <a:pt x="1212680" y="244475"/>
                      </a:cubicBezTo>
                      <a:close/>
                      <a:moveTo>
                        <a:pt x="31750" y="31750"/>
                      </a:moveTo>
                      <a:cubicBezTo>
                        <a:pt x="31750" y="31750"/>
                        <a:pt x="31750" y="31750"/>
                        <a:pt x="31750" y="194041"/>
                      </a:cubicBezTo>
                      <a:cubicBezTo>
                        <a:pt x="31750" y="194041"/>
                        <a:pt x="31750" y="194041"/>
                        <a:pt x="364127" y="194041"/>
                      </a:cubicBezTo>
                      <a:cubicBezTo>
                        <a:pt x="369833" y="194041"/>
                        <a:pt x="375539" y="194041"/>
                        <a:pt x="381245" y="194756"/>
                      </a:cubicBezTo>
                      <a:cubicBezTo>
                        <a:pt x="383385" y="194756"/>
                        <a:pt x="385524" y="194756"/>
                        <a:pt x="387664" y="195471"/>
                      </a:cubicBezTo>
                      <a:cubicBezTo>
                        <a:pt x="388377" y="195471"/>
                        <a:pt x="389091" y="195471"/>
                        <a:pt x="389804" y="195471"/>
                      </a:cubicBezTo>
                      <a:cubicBezTo>
                        <a:pt x="391230" y="195471"/>
                        <a:pt x="393370" y="196186"/>
                        <a:pt x="394797" y="196186"/>
                      </a:cubicBezTo>
                      <a:cubicBezTo>
                        <a:pt x="395510" y="196186"/>
                        <a:pt x="396936" y="196186"/>
                        <a:pt x="397650" y="196901"/>
                      </a:cubicBezTo>
                      <a:cubicBezTo>
                        <a:pt x="398363" y="196901"/>
                        <a:pt x="399789" y="196901"/>
                        <a:pt x="401216" y="197616"/>
                      </a:cubicBezTo>
                      <a:cubicBezTo>
                        <a:pt x="402642" y="197616"/>
                        <a:pt x="404069" y="197616"/>
                        <a:pt x="405495" y="198331"/>
                      </a:cubicBezTo>
                      <a:cubicBezTo>
                        <a:pt x="405495" y="198331"/>
                        <a:pt x="405495" y="198331"/>
                        <a:pt x="406209" y="198331"/>
                      </a:cubicBezTo>
                      <a:cubicBezTo>
                        <a:pt x="475394" y="214774"/>
                        <a:pt x="522469" y="270540"/>
                        <a:pt x="528175" y="347753"/>
                      </a:cubicBezTo>
                      <a:cubicBezTo>
                        <a:pt x="528888" y="352758"/>
                        <a:pt x="529602" y="358477"/>
                        <a:pt x="530315" y="363482"/>
                      </a:cubicBezTo>
                      <a:cubicBezTo>
                        <a:pt x="531028" y="369916"/>
                        <a:pt x="531741" y="376351"/>
                        <a:pt x="533168" y="383500"/>
                      </a:cubicBezTo>
                      <a:cubicBezTo>
                        <a:pt x="533881" y="387790"/>
                        <a:pt x="535308" y="392794"/>
                        <a:pt x="536734" y="397799"/>
                      </a:cubicBezTo>
                      <a:cubicBezTo>
                        <a:pt x="538874" y="407093"/>
                        <a:pt x="541014" y="416387"/>
                        <a:pt x="544580" y="425681"/>
                      </a:cubicBezTo>
                      <a:cubicBezTo>
                        <a:pt x="546006" y="429971"/>
                        <a:pt x="547433" y="434975"/>
                        <a:pt x="549573" y="439265"/>
                      </a:cubicBezTo>
                      <a:cubicBezTo>
                        <a:pt x="551713" y="445700"/>
                        <a:pt x="554566" y="452134"/>
                        <a:pt x="557419" y="457854"/>
                      </a:cubicBezTo>
                      <a:cubicBezTo>
                        <a:pt x="560272" y="464288"/>
                        <a:pt x="563838" y="470007"/>
                        <a:pt x="566691" y="476442"/>
                      </a:cubicBezTo>
                      <a:cubicBezTo>
                        <a:pt x="613052" y="560090"/>
                        <a:pt x="696503" y="620145"/>
                        <a:pt x="792792" y="633013"/>
                      </a:cubicBezTo>
                      <a:cubicBezTo>
                        <a:pt x="807771" y="635158"/>
                        <a:pt x="822036" y="636588"/>
                        <a:pt x="836301" y="636588"/>
                      </a:cubicBezTo>
                      <a:cubicBezTo>
                        <a:pt x="908340" y="636588"/>
                        <a:pt x="972532" y="610135"/>
                        <a:pt x="1027453" y="558660"/>
                      </a:cubicBezTo>
                      <a:cubicBezTo>
                        <a:pt x="1036725" y="550796"/>
                        <a:pt x="1045284" y="541501"/>
                        <a:pt x="1053843" y="532207"/>
                      </a:cubicBezTo>
                      <a:cubicBezTo>
                        <a:pt x="1118750" y="457854"/>
                        <a:pt x="1143000" y="361337"/>
                        <a:pt x="1120889" y="267680"/>
                      </a:cubicBezTo>
                      <a:cubicBezTo>
                        <a:pt x="1120176" y="265535"/>
                        <a:pt x="1120176" y="264105"/>
                        <a:pt x="1119463" y="261960"/>
                      </a:cubicBezTo>
                      <a:cubicBezTo>
                        <a:pt x="1119463" y="261245"/>
                        <a:pt x="1118750" y="259816"/>
                        <a:pt x="1118750" y="259101"/>
                      </a:cubicBezTo>
                      <a:cubicBezTo>
                        <a:pt x="1118036" y="256241"/>
                        <a:pt x="1116610" y="252666"/>
                        <a:pt x="1115897" y="249091"/>
                      </a:cubicBezTo>
                      <a:cubicBezTo>
                        <a:pt x="1115183" y="247662"/>
                        <a:pt x="1114470" y="246232"/>
                        <a:pt x="1114470" y="244087"/>
                      </a:cubicBezTo>
                      <a:cubicBezTo>
                        <a:pt x="1113757" y="243372"/>
                        <a:pt x="1113757" y="241942"/>
                        <a:pt x="1113044" y="241227"/>
                      </a:cubicBezTo>
                      <a:cubicBezTo>
                        <a:pt x="1095212" y="189037"/>
                        <a:pt x="1064542" y="143995"/>
                        <a:pt x="1023174" y="108249"/>
                      </a:cubicBezTo>
                      <a:cubicBezTo>
                        <a:pt x="1022460" y="107534"/>
                        <a:pt x="1021747" y="106819"/>
                        <a:pt x="1021034" y="106819"/>
                      </a:cubicBezTo>
                      <a:cubicBezTo>
                        <a:pt x="1019607" y="105389"/>
                        <a:pt x="1018181" y="103959"/>
                        <a:pt x="1016754" y="103244"/>
                      </a:cubicBezTo>
                      <a:cubicBezTo>
                        <a:pt x="1013901" y="101099"/>
                        <a:pt x="1011048" y="98954"/>
                        <a:pt x="1008908" y="96810"/>
                      </a:cubicBezTo>
                      <a:cubicBezTo>
                        <a:pt x="1008195" y="96810"/>
                        <a:pt x="1008195" y="96095"/>
                        <a:pt x="1008195" y="96095"/>
                      </a:cubicBezTo>
                      <a:cubicBezTo>
                        <a:pt x="1006055" y="94665"/>
                        <a:pt x="1004629" y="93950"/>
                        <a:pt x="1002489" y="92520"/>
                      </a:cubicBezTo>
                      <a:cubicBezTo>
                        <a:pt x="1001776" y="91805"/>
                        <a:pt x="1000349" y="91090"/>
                        <a:pt x="999636" y="90375"/>
                      </a:cubicBezTo>
                      <a:cubicBezTo>
                        <a:pt x="998923" y="89660"/>
                        <a:pt x="997496" y="88945"/>
                        <a:pt x="996783" y="88230"/>
                      </a:cubicBezTo>
                      <a:cubicBezTo>
                        <a:pt x="994643" y="86800"/>
                        <a:pt x="993217" y="86085"/>
                        <a:pt x="991077" y="84656"/>
                      </a:cubicBezTo>
                      <a:cubicBezTo>
                        <a:pt x="991077" y="84656"/>
                        <a:pt x="991077" y="84656"/>
                        <a:pt x="990364" y="83941"/>
                      </a:cubicBezTo>
                      <a:cubicBezTo>
                        <a:pt x="974672" y="73932"/>
                        <a:pt x="958267" y="65352"/>
                        <a:pt x="940436" y="57488"/>
                      </a:cubicBezTo>
                      <a:cubicBezTo>
                        <a:pt x="939723" y="56773"/>
                        <a:pt x="938296" y="56773"/>
                        <a:pt x="936870" y="56058"/>
                      </a:cubicBezTo>
                      <a:cubicBezTo>
                        <a:pt x="935443" y="55343"/>
                        <a:pt x="933303" y="54628"/>
                        <a:pt x="931164" y="53913"/>
                      </a:cubicBezTo>
                      <a:cubicBezTo>
                        <a:pt x="926884" y="52483"/>
                        <a:pt x="923318" y="50339"/>
                        <a:pt x="919038" y="48909"/>
                      </a:cubicBezTo>
                      <a:cubicBezTo>
                        <a:pt x="918325" y="48909"/>
                        <a:pt x="918325" y="48909"/>
                        <a:pt x="917612" y="48909"/>
                      </a:cubicBezTo>
                      <a:cubicBezTo>
                        <a:pt x="890508" y="39614"/>
                        <a:pt x="862691" y="33895"/>
                        <a:pt x="834874" y="32465"/>
                      </a:cubicBezTo>
                      <a:cubicBezTo>
                        <a:pt x="829882" y="32465"/>
                        <a:pt x="825602" y="32465"/>
                        <a:pt x="820609" y="32465"/>
                      </a:cubicBezTo>
                      <a:cubicBezTo>
                        <a:pt x="820609" y="32465"/>
                        <a:pt x="820609" y="32465"/>
                        <a:pt x="819183" y="32465"/>
                      </a:cubicBezTo>
                      <a:cubicBezTo>
                        <a:pt x="808484" y="32465"/>
                        <a:pt x="798498" y="32465"/>
                        <a:pt x="787800" y="32465"/>
                      </a:cubicBezTo>
                      <a:cubicBezTo>
                        <a:pt x="779241" y="32465"/>
                        <a:pt x="771395" y="32465"/>
                        <a:pt x="763549" y="32465"/>
                      </a:cubicBezTo>
                      <a:cubicBezTo>
                        <a:pt x="755703" y="32465"/>
                        <a:pt x="747857" y="32465"/>
                        <a:pt x="739298" y="32465"/>
                      </a:cubicBezTo>
                      <a:cubicBezTo>
                        <a:pt x="730739" y="32465"/>
                        <a:pt x="722894" y="32465"/>
                        <a:pt x="714334" y="32465"/>
                      </a:cubicBezTo>
                      <a:cubicBezTo>
                        <a:pt x="713621" y="32465"/>
                        <a:pt x="713621" y="32465"/>
                        <a:pt x="713621" y="32465"/>
                      </a:cubicBezTo>
                      <a:cubicBezTo>
                        <a:pt x="713621" y="34610"/>
                        <a:pt x="713621" y="36040"/>
                        <a:pt x="713621" y="38185"/>
                      </a:cubicBezTo>
                      <a:cubicBezTo>
                        <a:pt x="714334" y="56058"/>
                        <a:pt x="714334" y="73932"/>
                        <a:pt x="713621" y="91090"/>
                      </a:cubicBezTo>
                      <a:cubicBezTo>
                        <a:pt x="713621" y="96095"/>
                        <a:pt x="712908" y="101099"/>
                        <a:pt x="711481" y="106104"/>
                      </a:cubicBezTo>
                      <a:cubicBezTo>
                        <a:pt x="711481" y="106819"/>
                        <a:pt x="711481" y="107534"/>
                        <a:pt x="710768" y="108249"/>
                      </a:cubicBezTo>
                      <a:cubicBezTo>
                        <a:pt x="707915" y="119688"/>
                        <a:pt x="701496" y="130412"/>
                        <a:pt x="689371" y="136846"/>
                      </a:cubicBezTo>
                      <a:cubicBezTo>
                        <a:pt x="687944" y="136846"/>
                        <a:pt x="687231" y="137561"/>
                        <a:pt x="686518" y="138276"/>
                      </a:cubicBezTo>
                      <a:cubicBezTo>
                        <a:pt x="678672" y="141851"/>
                        <a:pt x="668686" y="143995"/>
                        <a:pt x="655134" y="143995"/>
                      </a:cubicBezTo>
                      <a:cubicBezTo>
                        <a:pt x="654421" y="143995"/>
                        <a:pt x="653708" y="143995"/>
                        <a:pt x="652995" y="143995"/>
                      </a:cubicBezTo>
                      <a:cubicBezTo>
                        <a:pt x="652281" y="143995"/>
                        <a:pt x="650855" y="143995"/>
                        <a:pt x="650142" y="143995"/>
                      </a:cubicBezTo>
                      <a:cubicBezTo>
                        <a:pt x="619472" y="141851"/>
                        <a:pt x="600927" y="122547"/>
                        <a:pt x="599501" y="91090"/>
                      </a:cubicBezTo>
                      <a:cubicBezTo>
                        <a:pt x="599501" y="91090"/>
                        <a:pt x="599501" y="91090"/>
                        <a:pt x="599501" y="90375"/>
                      </a:cubicBezTo>
                      <a:cubicBezTo>
                        <a:pt x="599501" y="78936"/>
                        <a:pt x="599501" y="68212"/>
                        <a:pt x="599501" y="57488"/>
                      </a:cubicBezTo>
                      <a:cubicBezTo>
                        <a:pt x="599501" y="57488"/>
                        <a:pt x="599501" y="57488"/>
                        <a:pt x="599501" y="56773"/>
                      </a:cubicBezTo>
                      <a:cubicBezTo>
                        <a:pt x="599501" y="56773"/>
                        <a:pt x="599501" y="56773"/>
                        <a:pt x="599501" y="56058"/>
                      </a:cubicBezTo>
                      <a:cubicBezTo>
                        <a:pt x="599501" y="48909"/>
                        <a:pt x="599501" y="41044"/>
                        <a:pt x="599501" y="33895"/>
                      </a:cubicBezTo>
                      <a:cubicBezTo>
                        <a:pt x="599501" y="33180"/>
                        <a:pt x="599501" y="33180"/>
                        <a:pt x="599501" y="32465"/>
                      </a:cubicBezTo>
                      <a:cubicBezTo>
                        <a:pt x="598787" y="32465"/>
                        <a:pt x="598787" y="32465"/>
                        <a:pt x="598074" y="32465"/>
                      </a:cubicBezTo>
                      <a:cubicBezTo>
                        <a:pt x="515337" y="32465"/>
                        <a:pt x="307066" y="32465"/>
                        <a:pt x="167269" y="32465"/>
                      </a:cubicBezTo>
                      <a:cubicBezTo>
                        <a:pt x="142305" y="32465"/>
                        <a:pt x="119481" y="31750"/>
                        <a:pt x="98083" y="31750"/>
                      </a:cubicBezTo>
                      <a:cubicBezTo>
                        <a:pt x="98083" y="31750"/>
                        <a:pt x="98083" y="31750"/>
                        <a:pt x="31750" y="31750"/>
                      </a:cubicBezTo>
                      <a:close/>
                      <a:moveTo>
                        <a:pt x="18557" y="0"/>
                      </a:moveTo>
                      <a:cubicBezTo>
                        <a:pt x="103491" y="0"/>
                        <a:pt x="439659" y="714"/>
                        <a:pt x="598107" y="714"/>
                      </a:cubicBezTo>
                      <a:cubicBezTo>
                        <a:pt x="620233" y="714"/>
                        <a:pt x="630225" y="10708"/>
                        <a:pt x="630939" y="32838"/>
                      </a:cubicBezTo>
                      <a:cubicBezTo>
                        <a:pt x="630939" y="51398"/>
                        <a:pt x="630225" y="69959"/>
                        <a:pt x="630939" y="88519"/>
                      </a:cubicBezTo>
                      <a:cubicBezTo>
                        <a:pt x="631652" y="105652"/>
                        <a:pt x="638076" y="112077"/>
                        <a:pt x="653778" y="112077"/>
                      </a:cubicBezTo>
                      <a:cubicBezTo>
                        <a:pt x="654492" y="112077"/>
                        <a:pt x="655205" y="112077"/>
                        <a:pt x="655205" y="112077"/>
                      </a:cubicBezTo>
                      <a:cubicBezTo>
                        <a:pt x="675190" y="112077"/>
                        <a:pt x="681613" y="107080"/>
                        <a:pt x="682327" y="89947"/>
                      </a:cubicBezTo>
                      <a:cubicBezTo>
                        <a:pt x="683041" y="71387"/>
                        <a:pt x="683041" y="52826"/>
                        <a:pt x="682327" y="34266"/>
                      </a:cubicBezTo>
                      <a:cubicBezTo>
                        <a:pt x="680900" y="15705"/>
                        <a:pt x="695888" y="714"/>
                        <a:pt x="713731" y="714"/>
                      </a:cubicBezTo>
                      <a:cubicBezTo>
                        <a:pt x="722296" y="714"/>
                        <a:pt x="730861" y="714"/>
                        <a:pt x="739426" y="714"/>
                      </a:cubicBezTo>
                      <a:cubicBezTo>
                        <a:pt x="755842" y="714"/>
                        <a:pt x="771544" y="714"/>
                        <a:pt x="787959" y="714"/>
                      </a:cubicBezTo>
                      <a:cubicBezTo>
                        <a:pt x="797952" y="714"/>
                        <a:pt x="808658" y="714"/>
                        <a:pt x="819364" y="714"/>
                      </a:cubicBezTo>
                      <a:cubicBezTo>
                        <a:pt x="820077" y="714"/>
                        <a:pt x="820791" y="714"/>
                        <a:pt x="820791" y="714"/>
                      </a:cubicBezTo>
                      <a:cubicBezTo>
                        <a:pt x="863615" y="714"/>
                        <a:pt x="904298" y="8567"/>
                        <a:pt x="943553" y="24272"/>
                      </a:cubicBezTo>
                      <a:cubicBezTo>
                        <a:pt x="1163382" y="111363"/>
                        <a:pt x="1231900" y="376921"/>
                        <a:pt x="1077021" y="551818"/>
                      </a:cubicBezTo>
                      <a:cubicBezTo>
                        <a:pt x="1012071" y="626060"/>
                        <a:pt x="930706" y="666750"/>
                        <a:pt x="836493" y="666750"/>
                      </a:cubicBezTo>
                      <a:cubicBezTo>
                        <a:pt x="820791" y="666750"/>
                        <a:pt x="805089" y="665322"/>
                        <a:pt x="788673" y="663181"/>
                      </a:cubicBezTo>
                      <a:cubicBezTo>
                        <a:pt x="631652" y="641765"/>
                        <a:pt x="509604" y="508272"/>
                        <a:pt x="497471" y="349080"/>
                      </a:cubicBezTo>
                      <a:cubicBezTo>
                        <a:pt x="491761" y="273410"/>
                        <a:pt x="439659" y="224868"/>
                        <a:pt x="364003" y="224868"/>
                      </a:cubicBezTo>
                      <a:cubicBezTo>
                        <a:pt x="364003" y="224868"/>
                        <a:pt x="364003" y="224868"/>
                        <a:pt x="15702" y="224868"/>
                      </a:cubicBezTo>
                      <a:cubicBezTo>
                        <a:pt x="7138" y="224868"/>
                        <a:pt x="0" y="217729"/>
                        <a:pt x="0" y="209163"/>
                      </a:cubicBezTo>
                      <a:cubicBezTo>
                        <a:pt x="0" y="209163"/>
                        <a:pt x="0" y="209163"/>
                        <a:pt x="0" y="18561"/>
                      </a:cubicBezTo>
                      <a:cubicBezTo>
                        <a:pt x="0" y="8567"/>
                        <a:pt x="7851" y="0"/>
                        <a:pt x="185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5" name="Freeform 8">
                  <a:extLst>
                    <a:ext uri="{FF2B5EF4-FFF2-40B4-BE49-F238E27FC236}">
                      <a16:creationId xmlns:a16="http://schemas.microsoft.com/office/drawing/2014/main" id="{19E68182-972E-46CD-B624-CC712E033025}"/>
                    </a:ext>
                  </a:extLst>
                </p:cNvPr>
                <p:cNvSpPr>
                  <a:spLocks/>
                </p:cNvSpPr>
                <p:nvPr/>
              </p:nvSpPr>
              <p:spPr bwMode="auto">
                <a:xfrm>
                  <a:off x="5508625" y="3160713"/>
                  <a:ext cx="1049338" cy="538163"/>
                </a:xfrm>
                <a:custGeom>
                  <a:avLst/>
                  <a:gdLst>
                    <a:gd name="T0" fmla="*/ 1441 w 1469"/>
                    <a:gd name="T1" fmla="*/ 295 h 756"/>
                    <a:gd name="T2" fmla="*/ 1202 w 1469"/>
                    <a:gd name="T3" fmla="*/ 28 h 756"/>
                    <a:gd name="T4" fmla="*/ 1063 w 1469"/>
                    <a:gd name="T5" fmla="*/ 1 h 756"/>
                    <a:gd name="T6" fmla="*/ 1061 w 1469"/>
                    <a:gd name="T7" fmla="*/ 1 h 756"/>
                    <a:gd name="T8" fmla="*/ 1017 w 1469"/>
                    <a:gd name="T9" fmla="*/ 1 h 756"/>
                    <a:gd name="T10" fmla="*/ 957 w 1469"/>
                    <a:gd name="T11" fmla="*/ 1 h 756"/>
                    <a:gd name="T12" fmla="*/ 956 w 1469"/>
                    <a:gd name="T13" fmla="*/ 41 h 756"/>
                    <a:gd name="T14" fmla="*/ 830 w 1469"/>
                    <a:gd name="T15" fmla="*/ 157 h 756"/>
                    <a:gd name="T16" fmla="*/ 826 w 1469"/>
                    <a:gd name="T17" fmla="*/ 157 h 756"/>
                    <a:gd name="T18" fmla="*/ 709 w 1469"/>
                    <a:gd name="T19" fmla="*/ 39 h 756"/>
                    <a:gd name="T20" fmla="*/ 709 w 1469"/>
                    <a:gd name="T21" fmla="*/ 1 h 756"/>
                    <a:gd name="T22" fmla="*/ 0 w 1469"/>
                    <a:gd name="T23" fmla="*/ 0 h 756"/>
                    <a:gd name="T24" fmla="*/ 0 w 1469"/>
                    <a:gd name="T25" fmla="*/ 139 h 756"/>
                    <a:gd name="T26" fmla="*/ 422 w 1469"/>
                    <a:gd name="T27" fmla="*/ 139 h 756"/>
                    <a:gd name="T28" fmla="*/ 697 w 1469"/>
                    <a:gd name="T29" fmla="*/ 394 h 756"/>
                    <a:gd name="T30" fmla="*/ 1030 w 1469"/>
                    <a:gd name="T31" fmla="*/ 752 h 756"/>
                    <a:gd name="T32" fmla="*/ 1085 w 1469"/>
                    <a:gd name="T33" fmla="*/ 756 h 756"/>
                    <a:gd name="T34" fmla="*/ 1357 w 1469"/>
                    <a:gd name="T35" fmla="*/ 625 h 756"/>
                    <a:gd name="T36" fmla="*/ 1441 w 1469"/>
                    <a:gd name="T37" fmla="*/ 295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9" h="756">
                      <a:moveTo>
                        <a:pt x="1441" y="295"/>
                      </a:moveTo>
                      <a:cubicBezTo>
                        <a:pt x="1412" y="174"/>
                        <a:pt x="1326" y="77"/>
                        <a:pt x="1202" y="28"/>
                      </a:cubicBezTo>
                      <a:cubicBezTo>
                        <a:pt x="1157" y="10"/>
                        <a:pt x="1110" y="1"/>
                        <a:pt x="1063" y="1"/>
                      </a:cubicBezTo>
                      <a:cubicBezTo>
                        <a:pt x="1061" y="1"/>
                        <a:pt x="1061" y="1"/>
                        <a:pt x="1061" y="1"/>
                      </a:cubicBezTo>
                      <a:cubicBezTo>
                        <a:pt x="1047" y="1"/>
                        <a:pt x="1032" y="1"/>
                        <a:pt x="1017" y="1"/>
                      </a:cubicBezTo>
                      <a:cubicBezTo>
                        <a:pt x="957" y="1"/>
                        <a:pt x="957" y="1"/>
                        <a:pt x="957" y="1"/>
                      </a:cubicBezTo>
                      <a:cubicBezTo>
                        <a:pt x="957" y="14"/>
                        <a:pt x="956" y="28"/>
                        <a:pt x="956" y="41"/>
                      </a:cubicBezTo>
                      <a:cubicBezTo>
                        <a:pt x="953" y="113"/>
                        <a:pt x="905" y="157"/>
                        <a:pt x="830" y="157"/>
                      </a:cubicBezTo>
                      <a:cubicBezTo>
                        <a:pt x="829" y="157"/>
                        <a:pt x="828" y="157"/>
                        <a:pt x="826" y="157"/>
                      </a:cubicBezTo>
                      <a:cubicBezTo>
                        <a:pt x="757" y="156"/>
                        <a:pt x="711" y="108"/>
                        <a:pt x="709" y="39"/>
                      </a:cubicBezTo>
                      <a:cubicBezTo>
                        <a:pt x="709" y="26"/>
                        <a:pt x="709" y="13"/>
                        <a:pt x="709" y="1"/>
                      </a:cubicBezTo>
                      <a:cubicBezTo>
                        <a:pt x="527" y="1"/>
                        <a:pt x="131" y="1"/>
                        <a:pt x="0" y="0"/>
                      </a:cubicBezTo>
                      <a:cubicBezTo>
                        <a:pt x="0" y="139"/>
                        <a:pt x="0" y="139"/>
                        <a:pt x="0" y="139"/>
                      </a:cubicBezTo>
                      <a:cubicBezTo>
                        <a:pt x="422" y="139"/>
                        <a:pt x="422" y="139"/>
                        <a:pt x="422" y="139"/>
                      </a:cubicBezTo>
                      <a:cubicBezTo>
                        <a:pt x="573" y="139"/>
                        <a:pt x="686" y="244"/>
                        <a:pt x="697" y="394"/>
                      </a:cubicBezTo>
                      <a:cubicBezTo>
                        <a:pt x="711" y="577"/>
                        <a:pt x="851" y="728"/>
                        <a:pt x="1030" y="752"/>
                      </a:cubicBezTo>
                      <a:cubicBezTo>
                        <a:pt x="1049" y="754"/>
                        <a:pt x="1067" y="756"/>
                        <a:pt x="1085" y="756"/>
                      </a:cubicBezTo>
                      <a:cubicBezTo>
                        <a:pt x="1189" y="756"/>
                        <a:pt x="1280" y="712"/>
                        <a:pt x="1357" y="625"/>
                      </a:cubicBezTo>
                      <a:cubicBezTo>
                        <a:pt x="1438" y="532"/>
                        <a:pt x="1469" y="412"/>
                        <a:pt x="1441" y="2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36" name="Group 35">
            <a:extLst>
              <a:ext uri="{FF2B5EF4-FFF2-40B4-BE49-F238E27FC236}">
                <a16:creationId xmlns:a16="http://schemas.microsoft.com/office/drawing/2014/main" id="{84093D13-8E1F-4217-810F-C83281AA6BFD}"/>
              </a:ext>
            </a:extLst>
          </p:cNvPr>
          <p:cNvGrpSpPr/>
          <p:nvPr/>
        </p:nvGrpSpPr>
        <p:grpSpPr>
          <a:xfrm>
            <a:off x="4933057" y="2259818"/>
            <a:ext cx="2325886" cy="2328131"/>
            <a:chOff x="7765709" y="2814170"/>
            <a:chExt cx="2325886" cy="2328131"/>
          </a:xfrm>
        </p:grpSpPr>
        <p:sp>
          <p:nvSpPr>
            <p:cNvPr id="37" name="Oval 36">
              <a:extLst>
                <a:ext uri="{FF2B5EF4-FFF2-40B4-BE49-F238E27FC236}">
                  <a16:creationId xmlns:a16="http://schemas.microsoft.com/office/drawing/2014/main" id="{723B3E03-3C51-4228-AD08-5CF29AEA81BC}"/>
                </a:ext>
              </a:extLst>
            </p:cNvPr>
            <p:cNvSpPr/>
            <p:nvPr>
              <p:custDataLst>
                <p:tags r:id="rId4"/>
              </p:custDataLst>
            </p:nvPr>
          </p:nvSpPr>
          <p:spPr>
            <a:xfrm>
              <a:off x="7765709" y="2814170"/>
              <a:ext cx="2325886" cy="2328131"/>
            </a:xfrm>
            <a:prstGeom prst="ellipse">
              <a:avLst/>
            </a:prstGeom>
            <a:solidFill>
              <a:srgbClr val="FFFFFF"/>
            </a:solidFill>
            <a:ln w="76200" cap="flat" cmpd="sng" algn="ctr">
              <a:gradFill flip="none" rotWithShape="1">
                <a:gsLst>
                  <a:gs pos="0">
                    <a:schemeClr val="accent4"/>
                  </a:gs>
                  <a:gs pos="100000">
                    <a:schemeClr val="accent3"/>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2000" kern="0" dirty="0">
                <a:solidFill>
                  <a:schemeClr val="bg1">
                    <a:lumMod val="50000"/>
                  </a:schemeClr>
                </a:solidFill>
              </a:endParaRPr>
            </a:p>
          </p:txBody>
        </p:sp>
        <p:grpSp>
          <p:nvGrpSpPr>
            <p:cNvPr id="38" name="Group 37">
              <a:extLst>
                <a:ext uri="{FF2B5EF4-FFF2-40B4-BE49-F238E27FC236}">
                  <a16:creationId xmlns:a16="http://schemas.microsoft.com/office/drawing/2014/main" id="{E4EE940B-9616-47A1-BC4A-4BB154A36FAF}"/>
                </a:ext>
              </a:extLst>
            </p:cNvPr>
            <p:cNvGrpSpPr>
              <a:grpSpLocks noChangeAspect="1"/>
            </p:cNvGrpSpPr>
            <p:nvPr/>
          </p:nvGrpSpPr>
          <p:grpSpPr>
            <a:xfrm>
              <a:off x="8106327" y="3155117"/>
              <a:ext cx="1644650" cy="1646237"/>
              <a:chOff x="5273675" y="2605088"/>
              <a:chExt cx="1644650" cy="1646237"/>
            </a:xfrm>
          </p:grpSpPr>
          <p:sp>
            <p:nvSpPr>
              <p:cNvPr id="39" name="AutoShape 3">
                <a:extLst>
                  <a:ext uri="{FF2B5EF4-FFF2-40B4-BE49-F238E27FC236}">
                    <a16:creationId xmlns:a16="http://schemas.microsoft.com/office/drawing/2014/main" id="{5193723A-0C0F-4156-88D1-AE710DDDFEB9}"/>
                  </a:ext>
                </a:extLst>
              </p:cNvPr>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0" name="Group 39">
                <a:extLst>
                  <a:ext uri="{FF2B5EF4-FFF2-40B4-BE49-F238E27FC236}">
                    <a16:creationId xmlns:a16="http://schemas.microsoft.com/office/drawing/2014/main" id="{D6AAEF44-9FF6-40D1-A006-0E0DB1365058}"/>
                  </a:ext>
                </a:extLst>
              </p:cNvPr>
              <p:cNvGrpSpPr/>
              <p:nvPr/>
            </p:nvGrpSpPr>
            <p:grpSpPr>
              <a:xfrm>
                <a:off x="5497179" y="2775744"/>
                <a:ext cx="1197643" cy="1304925"/>
                <a:chOff x="5497974" y="2774950"/>
                <a:chExt cx="1197643" cy="1304925"/>
              </a:xfrm>
            </p:grpSpPr>
            <p:sp>
              <p:nvSpPr>
                <p:cNvPr id="41" name="Freeform 5">
                  <a:extLst>
                    <a:ext uri="{FF2B5EF4-FFF2-40B4-BE49-F238E27FC236}">
                      <a16:creationId xmlns:a16="http://schemas.microsoft.com/office/drawing/2014/main" id="{DA524918-1E5D-4744-831A-1D998DE8614C}"/>
                    </a:ext>
                  </a:extLst>
                </p:cNvPr>
                <p:cNvSpPr>
                  <a:spLocks/>
                </p:cNvSpPr>
                <p:nvPr/>
              </p:nvSpPr>
              <p:spPr bwMode="auto">
                <a:xfrm>
                  <a:off x="5780088" y="2838450"/>
                  <a:ext cx="633413" cy="246062"/>
                </a:xfrm>
                <a:custGeom>
                  <a:avLst/>
                  <a:gdLst>
                    <a:gd name="connsiteX0" fmla="*/ 368300 w 633413"/>
                    <a:gd name="connsiteY0" fmla="*/ 0 h 246062"/>
                    <a:gd name="connsiteX1" fmla="*/ 595540 w 633413"/>
                    <a:gd name="connsiteY1" fmla="*/ 0 h 246062"/>
                    <a:gd name="connsiteX2" fmla="*/ 595540 w 633413"/>
                    <a:gd name="connsiteY2" fmla="*/ 718 h 246062"/>
                    <a:gd name="connsiteX3" fmla="*/ 594111 w 633413"/>
                    <a:gd name="connsiteY3" fmla="*/ 10043 h 246062"/>
                    <a:gd name="connsiteX4" fmla="*/ 622694 w 633413"/>
                    <a:gd name="connsiteY4" fmla="*/ 39456 h 246062"/>
                    <a:gd name="connsiteX5" fmla="*/ 631984 w 633413"/>
                    <a:gd name="connsiteY5" fmla="*/ 37304 h 246062"/>
                    <a:gd name="connsiteX6" fmla="*/ 633413 w 633413"/>
                    <a:gd name="connsiteY6" fmla="*/ 38021 h 246062"/>
                    <a:gd name="connsiteX7" fmla="*/ 633413 w 633413"/>
                    <a:gd name="connsiteY7" fmla="*/ 209476 h 246062"/>
                    <a:gd name="connsiteX8" fmla="*/ 631984 w 633413"/>
                    <a:gd name="connsiteY8" fmla="*/ 210910 h 246062"/>
                    <a:gd name="connsiteX9" fmla="*/ 622694 w 633413"/>
                    <a:gd name="connsiteY9" fmla="*/ 208758 h 246062"/>
                    <a:gd name="connsiteX10" fmla="*/ 594111 w 633413"/>
                    <a:gd name="connsiteY10" fmla="*/ 237454 h 246062"/>
                    <a:gd name="connsiteX11" fmla="*/ 594825 w 633413"/>
                    <a:gd name="connsiteY11" fmla="*/ 245345 h 246062"/>
                    <a:gd name="connsiteX12" fmla="*/ 594825 w 633413"/>
                    <a:gd name="connsiteY12" fmla="*/ 246062 h 246062"/>
                    <a:gd name="connsiteX13" fmla="*/ 368300 w 633413"/>
                    <a:gd name="connsiteY13" fmla="*/ 246062 h 246062"/>
                    <a:gd name="connsiteX14" fmla="*/ 369015 w 633413"/>
                    <a:gd name="connsiteY14" fmla="*/ 244627 h 246062"/>
                    <a:gd name="connsiteX15" fmla="*/ 426182 w 633413"/>
                    <a:gd name="connsiteY15" fmla="*/ 123390 h 246062"/>
                    <a:gd name="connsiteX16" fmla="*/ 369015 w 633413"/>
                    <a:gd name="connsiteY16" fmla="*/ 1435 h 246062"/>
                    <a:gd name="connsiteX17" fmla="*/ 368300 w 633413"/>
                    <a:gd name="connsiteY17" fmla="*/ 0 h 246062"/>
                    <a:gd name="connsiteX18" fmla="*/ 38611 w 633413"/>
                    <a:gd name="connsiteY18" fmla="*/ 0 h 246062"/>
                    <a:gd name="connsiteX19" fmla="*/ 265985 w 633413"/>
                    <a:gd name="connsiteY19" fmla="*/ 0 h 246062"/>
                    <a:gd name="connsiteX20" fmla="*/ 265270 w 633413"/>
                    <a:gd name="connsiteY20" fmla="*/ 1435 h 246062"/>
                    <a:gd name="connsiteX21" fmla="*/ 208069 w 633413"/>
                    <a:gd name="connsiteY21" fmla="*/ 123390 h 246062"/>
                    <a:gd name="connsiteX22" fmla="*/ 265270 w 633413"/>
                    <a:gd name="connsiteY22" fmla="*/ 244627 h 246062"/>
                    <a:gd name="connsiteX23" fmla="*/ 265985 w 633413"/>
                    <a:gd name="connsiteY23" fmla="*/ 246062 h 246062"/>
                    <a:gd name="connsiteX24" fmla="*/ 38611 w 633413"/>
                    <a:gd name="connsiteY24" fmla="*/ 246062 h 246062"/>
                    <a:gd name="connsiteX25" fmla="*/ 38611 w 633413"/>
                    <a:gd name="connsiteY25" fmla="*/ 245345 h 246062"/>
                    <a:gd name="connsiteX26" fmla="*/ 40041 w 633413"/>
                    <a:gd name="connsiteY26" fmla="*/ 237454 h 246062"/>
                    <a:gd name="connsiteX27" fmla="*/ 10725 w 633413"/>
                    <a:gd name="connsiteY27" fmla="*/ 208758 h 246062"/>
                    <a:gd name="connsiteX28" fmla="*/ 2145 w 633413"/>
                    <a:gd name="connsiteY28" fmla="*/ 210193 h 246062"/>
                    <a:gd name="connsiteX29" fmla="*/ 0 w 633413"/>
                    <a:gd name="connsiteY29" fmla="*/ 209476 h 246062"/>
                    <a:gd name="connsiteX30" fmla="*/ 0 w 633413"/>
                    <a:gd name="connsiteY30" fmla="*/ 38739 h 246062"/>
                    <a:gd name="connsiteX31" fmla="*/ 2145 w 633413"/>
                    <a:gd name="connsiteY31" fmla="*/ 37304 h 246062"/>
                    <a:gd name="connsiteX32" fmla="*/ 10725 w 633413"/>
                    <a:gd name="connsiteY32" fmla="*/ 39456 h 246062"/>
                    <a:gd name="connsiteX33" fmla="*/ 40041 w 633413"/>
                    <a:gd name="connsiteY33" fmla="*/ 10043 h 246062"/>
                    <a:gd name="connsiteX34" fmla="*/ 38611 w 633413"/>
                    <a:gd name="connsiteY34" fmla="*/ 718 h 246062"/>
                    <a:gd name="connsiteX35" fmla="*/ 38611 w 633413"/>
                    <a:gd name="connsiteY35" fmla="*/ 0 h 24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33413" h="246062">
                      <a:moveTo>
                        <a:pt x="368300" y="0"/>
                      </a:moveTo>
                      <a:cubicBezTo>
                        <a:pt x="368300" y="0"/>
                        <a:pt x="368300" y="0"/>
                        <a:pt x="595540" y="0"/>
                      </a:cubicBezTo>
                      <a:cubicBezTo>
                        <a:pt x="595540" y="0"/>
                        <a:pt x="595540" y="0"/>
                        <a:pt x="595540" y="718"/>
                      </a:cubicBezTo>
                      <a:cubicBezTo>
                        <a:pt x="594825" y="3587"/>
                        <a:pt x="594111" y="7174"/>
                        <a:pt x="594111" y="10043"/>
                      </a:cubicBezTo>
                      <a:cubicBezTo>
                        <a:pt x="594111" y="25826"/>
                        <a:pt x="606973" y="39456"/>
                        <a:pt x="622694" y="39456"/>
                      </a:cubicBezTo>
                      <a:cubicBezTo>
                        <a:pt x="625553" y="39456"/>
                        <a:pt x="629126" y="38021"/>
                        <a:pt x="631984" y="37304"/>
                      </a:cubicBezTo>
                      <a:cubicBezTo>
                        <a:pt x="632699" y="37304"/>
                        <a:pt x="633413" y="37304"/>
                        <a:pt x="633413" y="38021"/>
                      </a:cubicBezTo>
                      <a:cubicBezTo>
                        <a:pt x="633413" y="38021"/>
                        <a:pt x="633413" y="38021"/>
                        <a:pt x="633413" y="209476"/>
                      </a:cubicBezTo>
                      <a:cubicBezTo>
                        <a:pt x="633413" y="210193"/>
                        <a:pt x="632699" y="210910"/>
                        <a:pt x="631984" y="210910"/>
                      </a:cubicBezTo>
                      <a:cubicBezTo>
                        <a:pt x="629126" y="209476"/>
                        <a:pt x="625553" y="208758"/>
                        <a:pt x="622694" y="208758"/>
                      </a:cubicBezTo>
                      <a:cubicBezTo>
                        <a:pt x="606973" y="208758"/>
                        <a:pt x="594111" y="221671"/>
                        <a:pt x="594111" y="237454"/>
                      </a:cubicBezTo>
                      <a:cubicBezTo>
                        <a:pt x="594111" y="240323"/>
                        <a:pt x="594111" y="242475"/>
                        <a:pt x="594825" y="245345"/>
                      </a:cubicBezTo>
                      <a:cubicBezTo>
                        <a:pt x="594825" y="245345"/>
                        <a:pt x="594825" y="245345"/>
                        <a:pt x="594825" y="246062"/>
                      </a:cubicBezTo>
                      <a:cubicBezTo>
                        <a:pt x="594825" y="246062"/>
                        <a:pt x="594825" y="246062"/>
                        <a:pt x="368300" y="246062"/>
                      </a:cubicBezTo>
                      <a:cubicBezTo>
                        <a:pt x="368300" y="245345"/>
                        <a:pt x="368300" y="245345"/>
                        <a:pt x="369015" y="244627"/>
                      </a:cubicBezTo>
                      <a:cubicBezTo>
                        <a:pt x="398313" y="223823"/>
                        <a:pt x="426182" y="176476"/>
                        <a:pt x="426182" y="123390"/>
                      </a:cubicBezTo>
                      <a:cubicBezTo>
                        <a:pt x="426182" y="69586"/>
                        <a:pt x="398313" y="22956"/>
                        <a:pt x="369015" y="1435"/>
                      </a:cubicBezTo>
                      <a:cubicBezTo>
                        <a:pt x="368300" y="718"/>
                        <a:pt x="368300" y="718"/>
                        <a:pt x="368300" y="0"/>
                      </a:cubicBezTo>
                      <a:close/>
                      <a:moveTo>
                        <a:pt x="38611" y="0"/>
                      </a:moveTo>
                      <a:cubicBezTo>
                        <a:pt x="38611" y="0"/>
                        <a:pt x="38611" y="0"/>
                        <a:pt x="265985" y="0"/>
                      </a:cubicBezTo>
                      <a:cubicBezTo>
                        <a:pt x="266700" y="718"/>
                        <a:pt x="265985" y="718"/>
                        <a:pt x="265270" y="1435"/>
                      </a:cubicBezTo>
                      <a:cubicBezTo>
                        <a:pt x="236670" y="22956"/>
                        <a:pt x="208069" y="69586"/>
                        <a:pt x="208069" y="123390"/>
                      </a:cubicBezTo>
                      <a:cubicBezTo>
                        <a:pt x="208069" y="176476"/>
                        <a:pt x="236670" y="223823"/>
                        <a:pt x="265270" y="244627"/>
                      </a:cubicBezTo>
                      <a:cubicBezTo>
                        <a:pt x="265985" y="245345"/>
                        <a:pt x="266700" y="245345"/>
                        <a:pt x="265985" y="246062"/>
                      </a:cubicBezTo>
                      <a:cubicBezTo>
                        <a:pt x="265985" y="246062"/>
                        <a:pt x="265985" y="246062"/>
                        <a:pt x="38611" y="246062"/>
                      </a:cubicBezTo>
                      <a:cubicBezTo>
                        <a:pt x="38611" y="246062"/>
                        <a:pt x="38611" y="246062"/>
                        <a:pt x="38611" y="245345"/>
                      </a:cubicBezTo>
                      <a:cubicBezTo>
                        <a:pt x="39326" y="242475"/>
                        <a:pt x="40041" y="240323"/>
                        <a:pt x="40041" y="237454"/>
                      </a:cubicBezTo>
                      <a:cubicBezTo>
                        <a:pt x="40041" y="221671"/>
                        <a:pt x="26456" y="208758"/>
                        <a:pt x="10725" y="208758"/>
                      </a:cubicBezTo>
                      <a:cubicBezTo>
                        <a:pt x="7865" y="208758"/>
                        <a:pt x="4290" y="209476"/>
                        <a:pt x="2145" y="210193"/>
                      </a:cubicBezTo>
                      <a:cubicBezTo>
                        <a:pt x="715" y="210910"/>
                        <a:pt x="0" y="210193"/>
                        <a:pt x="0" y="209476"/>
                      </a:cubicBezTo>
                      <a:cubicBezTo>
                        <a:pt x="0" y="209476"/>
                        <a:pt x="0" y="209476"/>
                        <a:pt x="0" y="38739"/>
                      </a:cubicBezTo>
                      <a:cubicBezTo>
                        <a:pt x="0" y="37304"/>
                        <a:pt x="715" y="37304"/>
                        <a:pt x="2145" y="37304"/>
                      </a:cubicBezTo>
                      <a:cubicBezTo>
                        <a:pt x="4290" y="38021"/>
                        <a:pt x="7865" y="39456"/>
                        <a:pt x="10725" y="39456"/>
                      </a:cubicBezTo>
                      <a:cubicBezTo>
                        <a:pt x="26456" y="39456"/>
                        <a:pt x="40041" y="25826"/>
                        <a:pt x="40041" y="10043"/>
                      </a:cubicBezTo>
                      <a:cubicBezTo>
                        <a:pt x="40041" y="7174"/>
                        <a:pt x="39326" y="3587"/>
                        <a:pt x="38611" y="718"/>
                      </a:cubicBezTo>
                      <a:cubicBezTo>
                        <a:pt x="38611" y="718"/>
                        <a:pt x="38611" y="718"/>
                        <a:pt x="3861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2" name="Freeform 6">
                  <a:extLst>
                    <a:ext uri="{FF2B5EF4-FFF2-40B4-BE49-F238E27FC236}">
                      <a16:creationId xmlns:a16="http://schemas.microsoft.com/office/drawing/2014/main" id="{1A577F32-E166-43EC-9410-AFC52139019C}"/>
                    </a:ext>
                  </a:extLst>
                </p:cNvPr>
                <p:cNvSpPr>
                  <a:spLocks/>
                </p:cNvSpPr>
                <p:nvPr/>
              </p:nvSpPr>
              <p:spPr bwMode="auto">
                <a:xfrm>
                  <a:off x="5497974" y="2774950"/>
                  <a:ext cx="1197643" cy="1304925"/>
                </a:xfrm>
                <a:custGeom>
                  <a:avLst/>
                  <a:gdLst>
                    <a:gd name="connsiteX0" fmla="*/ 1077708 w 1197643"/>
                    <a:gd name="connsiteY0" fmla="*/ 315913 h 1304925"/>
                    <a:gd name="connsiteX1" fmla="*/ 1066261 w 1197643"/>
                    <a:gd name="connsiteY1" fmla="*/ 318056 h 1304925"/>
                    <a:gd name="connsiteX2" fmla="*/ 1044083 w 1197643"/>
                    <a:gd name="connsiteY2" fmla="*/ 337344 h 1304925"/>
                    <a:gd name="connsiteX3" fmla="*/ 1041936 w 1197643"/>
                    <a:gd name="connsiteY3" fmla="*/ 366634 h 1304925"/>
                    <a:gd name="connsiteX4" fmla="*/ 1065545 w 1197643"/>
                    <a:gd name="connsiteY4" fmla="*/ 434499 h 1304925"/>
                    <a:gd name="connsiteX5" fmla="*/ 1074130 w 1197643"/>
                    <a:gd name="connsiteY5" fmla="*/ 617379 h 1304925"/>
                    <a:gd name="connsiteX6" fmla="*/ 1071984 w 1197643"/>
                    <a:gd name="connsiteY6" fmla="*/ 623809 h 1304925"/>
                    <a:gd name="connsiteX7" fmla="*/ 966816 w 1197643"/>
                    <a:gd name="connsiteY7" fmla="*/ 788829 h 1304925"/>
                    <a:gd name="connsiteX8" fmla="*/ 946069 w 1197643"/>
                    <a:gd name="connsiteY8" fmla="*/ 805260 h 1304925"/>
                    <a:gd name="connsiteX9" fmla="*/ 920314 w 1197643"/>
                    <a:gd name="connsiteY9" fmla="*/ 814547 h 1304925"/>
                    <a:gd name="connsiteX10" fmla="*/ 885258 w 1197643"/>
                    <a:gd name="connsiteY10" fmla="*/ 795973 h 1304925"/>
                    <a:gd name="connsiteX11" fmla="*/ 882396 w 1197643"/>
                    <a:gd name="connsiteY11" fmla="*/ 756682 h 1304925"/>
                    <a:gd name="connsiteX12" fmla="*/ 931045 w 1197643"/>
                    <a:gd name="connsiteY12" fmla="*/ 646669 h 1304925"/>
                    <a:gd name="connsiteX13" fmla="*/ 917452 w 1197643"/>
                    <a:gd name="connsiteY13" fmla="*/ 605235 h 1304925"/>
                    <a:gd name="connsiteX14" fmla="*/ 901713 w 1197643"/>
                    <a:gd name="connsiteY14" fmla="*/ 600949 h 1304925"/>
                    <a:gd name="connsiteX15" fmla="*/ 873811 w 1197643"/>
                    <a:gd name="connsiteY15" fmla="*/ 616665 h 1304925"/>
                    <a:gd name="connsiteX16" fmla="*/ 710693 w 1197643"/>
                    <a:gd name="connsiteY16" fmla="*/ 875268 h 1304925"/>
                    <a:gd name="connsiteX17" fmla="*/ 688515 w 1197643"/>
                    <a:gd name="connsiteY17" fmla="*/ 950278 h 1304925"/>
                    <a:gd name="connsiteX18" fmla="*/ 689946 w 1197643"/>
                    <a:gd name="connsiteY18" fmla="*/ 1273175 h 1304925"/>
                    <a:gd name="connsiteX19" fmla="*/ 956800 w 1197643"/>
                    <a:gd name="connsiteY19" fmla="*/ 1273175 h 1304925"/>
                    <a:gd name="connsiteX20" fmla="*/ 956800 w 1197643"/>
                    <a:gd name="connsiteY20" fmla="*/ 1096010 h 1304925"/>
                    <a:gd name="connsiteX21" fmla="*/ 956800 w 1197643"/>
                    <a:gd name="connsiteY21" fmla="*/ 1091724 h 1304925"/>
                    <a:gd name="connsiteX22" fmla="*/ 993287 w 1197643"/>
                    <a:gd name="connsiteY22" fmla="*/ 995998 h 1304925"/>
                    <a:gd name="connsiteX23" fmla="*/ 1059822 w 1197643"/>
                    <a:gd name="connsiteY23" fmla="*/ 896700 h 1304925"/>
                    <a:gd name="connsiteX24" fmla="*/ 1153543 w 1197643"/>
                    <a:gd name="connsiteY24" fmla="*/ 672386 h 1304925"/>
                    <a:gd name="connsiteX25" fmla="*/ 1156405 w 1197643"/>
                    <a:gd name="connsiteY25" fmla="*/ 659527 h 1304925"/>
                    <a:gd name="connsiteX26" fmla="*/ 1138519 w 1197643"/>
                    <a:gd name="connsiteY26" fmla="*/ 408067 h 1304925"/>
                    <a:gd name="connsiteX27" fmla="*/ 1113479 w 1197643"/>
                    <a:gd name="connsiteY27" fmla="*/ 340916 h 1304925"/>
                    <a:gd name="connsiteX28" fmla="*/ 1077708 w 1197643"/>
                    <a:gd name="connsiteY28" fmla="*/ 315913 h 1304925"/>
                    <a:gd name="connsiteX29" fmla="*/ 118348 w 1197643"/>
                    <a:gd name="connsiteY29" fmla="*/ 315913 h 1304925"/>
                    <a:gd name="connsiteX30" fmla="*/ 82577 w 1197643"/>
                    <a:gd name="connsiteY30" fmla="*/ 340916 h 1304925"/>
                    <a:gd name="connsiteX31" fmla="*/ 57537 w 1197643"/>
                    <a:gd name="connsiteY31" fmla="*/ 408067 h 1304925"/>
                    <a:gd name="connsiteX32" fmla="*/ 39651 w 1197643"/>
                    <a:gd name="connsiteY32" fmla="*/ 659527 h 1304925"/>
                    <a:gd name="connsiteX33" fmla="*/ 42513 w 1197643"/>
                    <a:gd name="connsiteY33" fmla="*/ 672386 h 1304925"/>
                    <a:gd name="connsiteX34" fmla="*/ 136234 w 1197643"/>
                    <a:gd name="connsiteY34" fmla="*/ 896700 h 1304925"/>
                    <a:gd name="connsiteX35" fmla="*/ 202768 w 1197643"/>
                    <a:gd name="connsiteY35" fmla="*/ 995998 h 1304925"/>
                    <a:gd name="connsiteX36" fmla="*/ 239255 w 1197643"/>
                    <a:gd name="connsiteY36" fmla="*/ 1091724 h 1304925"/>
                    <a:gd name="connsiteX37" fmla="*/ 239255 w 1197643"/>
                    <a:gd name="connsiteY37" fmla="*/ 1096010 h 1304925"/>
                    <a:gd name="connsiteX38" fmla="*/ 239255 w 1197643"/>
                    <a:gd name="connsiteY38" fmla="*/ 1273175 h 1304925"/>
                    <a:gd name="connsiteX39" fmla="*/ 506109 w 1197643"/>
                    <a:gd name="connsiteY39" fmla="*/ 1273175 h 1304925"/>
                    <a:gd name="connsiteX40" fmla="*/ 507540 w 1197643"/>
                    <a:gd name="connsiteY40" fmla="*/ 950278 h 1304925"/>
                    <a:gd name="connsiteX41" fmla="*/ 485362 w 1197643"/>
                    <a:gd name="connsiteY41" fmla="*/ 875268 h 1304925"/>
                    <a:gd name="connsiteX42" fmla="*/ 322245 w 1197643"/>
                    <a:gd name="connsiteY42" fmla="*/ 616665 h 1304925"/>
                    <a:gd name="connsiteX43" fmla="*/ 294343 w 1197643"/>
                    <a:gd name="connsiteY43" fmla="*/ 600949 h 1304925"/>
                    <a:gd name="connsiteX44" fmla="*/ 278604 w 1197643"/>
                    <a:gd name="connsiteY44" fmla="*/ 605235 h 1304925"/>
                    <a:gd name="connsiteX45" fmla="*/ 265010 w 1197643"/>
                    <a:gd name="connsiteY45" fmla="*/ 646669 h 1304925"/>
                    <a:gd name="connsiteX46" fmla="*/ 313659 w 1197643"/>
                    <a:gd name="connsiteY46" fmla="*/ 756682 h 1304925"/>
                    <a:gd name="connsiteX47" fmla="*/ 310798 w 1197643"/>
                    <a:gd name="connsiteY47" fmla="*/ 795973 h 1304925"/>
                    <a:gd name="connsiteX48" fmla="*/ 275742 w 1197643"/>
                    <a:gd name="connsiteY48" fmla="*/ 814547 h 1304925"/>
                    <a:gd name="connsiteX49" fmla="*/ 249986 w 1197643"/>
                    <a:gd name="connsiteY49" fmla="*/ 805260 h 1304925"/>
                    <a:gd name="connsiteX50" fmla="*/ 229239 w 1197643"/>
                    <a:gd name="connsiteY50" fmla="*/ 788829 h 1304925"/>
                    <a:gd name="connsiteX51" fmla="*/ 124071 w 1197643"/>
                    <a:gd name="connsiteY51" fmla="*/ 623809 h 1304925"/>
                    <a:gd name="connsiteX52" fmla="*/ 121925 w 1197643"/>
                    <a:gd name="connsiteY52" fmla="*/ 617379 h 1304925"/>
                    <a:gd name="connsiteX53" fmla="*/ 130510 w 1197643"/>
                    <a:gd name="connsiteY53" fmla="*/ 434499 h 1304925"/>
                    <a:gd name="connsiteX54" fmla="*/ 154119 w 1197643"/>
                    <a:gd name="connsiteY54" fmla="*/ 366634 h 1304925"/>
                    <a:gd name="connsiteX55" fmla="*/ 151973 w 1197643"/>
                    <a:gd name="connsiteY55" fmla="*/ 337344 h 1304925"/>
                    <a:gd name="connsiteX56" fmla="*/ 129795 w 1197643"/>
                    <a:gd name="connsiteY56" fmla="*/ 318056 h 1304925"/>
                    <a:gd name="connsiteX57" fmla="*/ 118348 w 1197643"/>
                    <a:gd name="connsiteY57" fmla="*/ 315913 h 1304925"/>
                    <a:gd name="connsiteX58" fmla="*/ 1078223 w 1197643"/>
                    <a:gd name="connsiteY58" fmla="*/ 284163 h 1304925"/>
                    <a:gd name="connsiteX59" fmla="*/ 1143202 w 1197643"/>
                    <a:gd name="connsiteY59" fmla="*/ 329912 h 1304925"/>
                    <a:gd name="connsiteX60" fmla="*/ 1168195 w 1197643"/>
                    <a:gd name="connsiteY60" fmla="*/ 396390 h 1304925"/>
                    <a:gd name="connsiteX61" fmla="*/ 1186760 w 1197643"/>
                    <a:gd name="connsiteY61" fmla="*/ 665877 h 1304925"/>
                    <a:gd name="connsiteX62" fmla="*/ 1183904 w 1197643"/>
                    <a:gd name="connsiteY62" fmla="*/ 679458 h 1304925"/>
                    <a:gd name="connsiteX63" fmla="*/ 1086077 w 1197643"/>
                    <a:gd name="connsiteY63" fmla="*/ 913919 h 1304925"/>
                    <a:gd name="connsiteX64" fmla="*/ 1020383 w 1197643"/>
                    <a:gd name="connsiteY64" fmla="*/ 1013279 h 1304925"/>
                    <a:gd name="connsiteX65" fmla="*/ 988964 w 1197643"/>
                    <a:gd name="connsiteY65" fmla="*/ 1096198 h 1304925"/>
                    <a:gd name="connsiteX66" fmla="*/ 989678 w 1197643"/>
                    <a:gd name="connsiteY66" fmla="*/ 1289199 h 1304925"/>
                    <a:gd name="connsiteX67" fmla="*/ 973969 w 1197643"/>
                    <a:gd name="connsiteY67" fmla="*/ 1304925 h 1304925"/>
                    <a:gd name="connsiteX68" fmla="*/ 667635 w 1197643"/>
                    <a:gd name="connsiteY68" fmla="*/ 1304925 h 1304925"/>
                    <a:gd name="connsiteX69" fmla="*/ 659780 w 1197643"/>
                    <a:gd name="connsiteY69" fmla="*/ 1291344 h 1304925"/>
                    <a:gd name="connsiteX70" fmla="*/ 658352 w 1197643"/>
                    <a:gd name="connsiteY70" fmla="*/ 950375 h 1304925"/>
                    <a:gd name="connsiteX71" fmla="*/ 684773 w 1197643"/>
                    <a:gd name="connsiteY71" fmla="*/ 858163 h 1304925"/>
                    <a:gd name="connsiteX72" fmla="*/ 849008 w 1197643"/>
                    <a:gd name="connsiteY72" fmla="*/ 599398 h 1304925"/>
                    <a:gd name="connsiteX73" fmla="*/ 902563 w 1197643"/>
                    <a:gd name="connsiteY73" fmla="*/ 569376 h 1304925"/>
                    <a:gd name="connsiteX74" fmla="*/ 933267 w 1197643"/>
                    <a:gd name="connsiteY74" fmla="*/ 577954 h 1304925"/>
                    <a:gd name="connsiteX75" fmla="*/ 960402 w 1197643"/>
                    <a:gd name="connsiteY75" fmla="*/ 659443 h 1304925"/>
                    <a:gd name="connsiteX76" fmla="*/ 911845 w 1197643"/>
                    <a:gd name="connsiteY76" fmla="*/ 769525 h 1304925"/>
                    <a:gd name="connsiteX77" fmla="*/ 921128 w 1197643"/>
                    <a:gd name="connsiteY77" fmla="*/ 783107 h 1304925"/>
                    <a:gd name="connsiteX78" fmla="*/ 926841 w 1197643"/>
                    <a:gd name="connsiteY78" fmla="*/ 780963 h 1304925"/>
                    <a:gd name="connsiteX79" fmla="*/ 948263 w 1197643"/>
                    <a:gd name="connsiteY79" fmla="*/ 763807 h 1304925"/>
                    <a:gd name="connsiteX80" fmla="*/ 1042519 w 1197643"/>
                    <a:gd name="connsiteY80" fmla="*/ 616554 h 1304925"/>
                    <a:gd name="connsiteX81" fmla="*/ 1043947 w 1197643"/>
                    <a:gd name="connsiteY81" fmla="*/ 609406 h 1304925"/>
                    <a:gd name="connsiteX82" fmla="*/ 1036093 w 1197643"/>
                    <a:gd name="connsiteY82" fmla="*/ 444997 h 1304925"/>
                    <a:gd name="connsiteX83" fmla="*/ 1013243 w 1197643"/>
                    <a:gd name="connsiteY83" fmla="*/ 376375 h 1304925"/>
                    <a:gd name="connsiteX84" fmla="*/ 1056801 w 1197643"/>
                    <a:gd name="connsiteY84" fmla="*/ 287737 h 1304925"/>
                    <a:gd name="connsiteX85" fmla="*/ 1078223 w 1197643"/>
                    <a:gd name="connsiteY85" fmla="*/ 284163 h 1304925"/>
                    <a:gd name="connsiteX86" fmla="*/ 119420 w 1197643"/>
                    <a:gd name="connsiteY86" fmla="*/ 284163 h 1304925"/>
                    <a:gd name="connsiteX87" fmla="*/ 140842 w 1197643"/>
                    <a:gd name="connsiteY87" fmla="*/ 287737 h 1304925"/>
                    <a:gd name="connsiteX88" fmla="*/ 184400 w 1197643"/>
                    <a:gd name="connsiteY88" fmla="*/ 376375 h 1304925"/>
                    <a:gd name="connsiteX89" fmla="*/ 161550 w 1197643"/>
                    <a:gd name="connsiteY89" fmla="*/ 444997 h 1304925"/>
                    <a:gd name="connsiteX90" fmla="*/ 153695 w 1197643"/>
                    <a:gd name="connsiteY90" fmla="*/ 609406 h 1304925"/>
                    <a:gd name="connsiteX91" fmla="*/ 155123 w 1197643"/>
                    <a:gd name="connsiteY91" fmla="*/ 616554 h 1304925"/>
                    <a:gd name="connsiteX92" fmla="*/ 249380 w 1197643"/>
                    <a:gd name="connsiteY92" fmla="*/ 763807 h 1304925"/>
                    <a:gd name="connsiteX93" fmla="*/ 270802 w 1197643"/>
                    <a:gd name="connsiteY93" fmla="*/ 780963 h 1304925"/>
                    <a:gd name="connsiteX94" fmla="*/ 276514 w 1197643"/>
                    <a:gd name="connsiteY94" fmla="*/ 783107 h 1304925"/>
                    <a:gd name="connsiteX95" fmla="*/ 285797 w 1197643"/>
                    <a:gd name="connsiteY95" fmla="*/ 769525 h 1304925"/>
                    <a:gd name="connsiteX96" fmla="*/ 237241 w 1197643"/>
                    <a:gd name="connsiteY96" fmla="*/ 659443 h 1304925"/>
                    <a:gd name="connsiteX97" fmla="*/ 264375 w 1197643"/>
                    <a:gd name="connsiteY97" fmla="*/ 577954 h 1304925"/>
                    <a:gd name="connsiteX98" fmla="*/ 295080 w 1197643"/>
                    <a:gd name="connsiteY98" fmla="*/ 569376 h 1304925"/>
                    <a:gd name="connsiteX99" fmla="*/ 348635 w 1197643"/>
                    <a:gd name="connsiteY99" fmla="*/ 599398 h 1304925"/>
                    <a:gd name="connsiteX100" fmla="*/ 512870 w 1197643"/>
                    <a:gd name="connsiteY100" fmla="*/ 858163 h 1304925"/>
                    <a:gd name="connsiteX101" fmla="*/ 539290 w 1197643"/>
                    <a:gd name="connsiteY101" fmla="*/ 950375 h 1304925"/>
                    <a:gd name="connsiteX102" fmla="*/ 537862 w 1197643"/>
                    <a:gd name="connsiteY102" fmla="*/ 1291344 h 1304925"/>
                    <a:gd name="connsiteX103" fmla="*/ 530007 w 1197643"/>
                    <a:gd name="connsiteY103" fmla="*/ 1304925 h 1304925"/>
                    <a:gd name="connsiteX104" fmla="*/ 224387 w 1197643"/>
                    <a:gd name="connsiteY104" fmla="*/ 1304925 h 1304925"/>
                    <a:gd name="connsiteX105" fmla="*/ 223673 w 1197643"/>
                    <a:gd name="connsiteY105" fmla="*/ 1304925 h 1304925"/>
                    <a:gd name="connsiteX106" fmla="*/ 207964 w 1197643"/>
                    <a:gd name="connsiteY106" fmla="*/ 1289199 h 1304925"/>
                    <a:gd name="connsiteX107" fmla="*/ 208678 w 1197643"/>
                    <a:gd name="connsiteY107" fmla="*/ 1096198 h 1304925"/>
                    <a:gd name="connsiteX108" fmla="*/ 177259 w 1197643"/>
                    <a:gd name="connsiteY108" fmla="*/ 1013279 h 1304925"/>
                    <a:gd name="connsiteX109" fmla="*/ 111565 w 1197643"/>
                    <a:gd name="connsiteY109" fmla="*/ 913919 h 1304925"/>
                    <a:gd name="connsiteX110" fmla="*/ 13738 w 1197643"/>
                    <a:gd name="connsiteY110" fmla="*/ 679458 h 1304925"/>
                    <a:gd name="connsiteX111" fmla="*/ 10882 w 1197643"/>
                    <a:gd name="connsiteY111" fmla="*/ 665877 h 1304925"/>
                    <a:gd name="connsiteX112" fmla="*/ 29448 w 1197643"/>
                    <a:gd name="connsiteY112" fmla="*/ 396390 h 1304925"/>
                    <a:gd name="connsiteX113" fmla="*/ 54440 w 1197643"/>
                    <a:gd name="connsiteY113" fmla="*/ 329912 h 1304925"/>
                    <a:gd name="connsiteX114" fmla="*/ 119420 w 1197643"/>
                    <a:gd name="connsiteY114" fmla="*/ 284163 h 1304925"/>
                    <a:gd name="connsiteX115" fmla="*/ 586062 w 1197643"/>
                    <a:gd name="connsiteY115" fmla="*/ 84138 h 1304925"/>
                    <a:gd name="connsiteX116" fmla="*/ 611739 w 1197643"/>
                    <a:gd name="connsiteY116" fmla="*/ 84138 h 1304925"/>
                    <a:gd name="connsiteX117" fmla="*/ 611739 w 1197643"/>
                    <a:gd name="connsiteY117" fmla="*/ 102626 h 1304925"/>
                    <a:gd name="connsiteX118" fmla="*/ 641694 w 1197643"/>
                    <a:gd name="connsiteY118" fmla="*/ 112581 h 1304925"/>
                    <a:gd name="connsiteX119" fmla="*/ 633849 w 1197643"/>
                    <a:gd name="connsiteY119" fmla="*/ 136046 h 1304925"/>
                    <a:gd name="connsiteX120" fmla="*/ 600327 w 1197643"/>
                    <a:gd name="connsiteY120" fmla="*/ 125380 h 1304925"/>
                    <a:gd name="connsiteX121" fmla="*/ 585349 w 1197643"/>
                    <a:gd name="connsiteY121" fmla="*/ 130357 h 1304925"/>
                    <a:gd name="connsiteX122" fmla="*/ 579643 w 1197643"/>
                    <a:gd name="connsiteY122" fmla="*/ 144579 h 1304925"/>
                    <a:gd name="connsiteX123" fmla="*/ 611025 w 1197643"/>
                    <a:gd name="connsiteY123" fmla="*/ 172310 h 1304925"/>
                    <a:gd name="connsiteX124" fmla="*/ 635275 w 1197643"/>
                    <a:gd name="connsiteY124" fmla="*/ 187954 h 1304925"/>
                    <a:gd name="connsiteX125" fmla="*/ 645260 w 1197643"/>
                    <a:gd name="connsiteY125" fmla="*/ 202886 h 1304925"/>
                    <a:gd name="connsiteX126" fmla="*/ 648826 w 1197643"/>
                    <a:gd name="connsiteY126" fmla="*/ 222085 h 1304925"/>
                    <a:gd name="connsiteX127" fmla="*/ 638841 w 1197643"/>
                    <a:gd name="connsiteY127" fmla="*/ 249105 h 1304925"/>
                    <a:gd name="connsiteX128" fmla="*/ 611739 w 1197643"/>
                    <a:gd name="connsiteY128" fmla="*/ 264749 h 1304925"/>
                    <a:gd name="connsiteX129" fmla="*/ 611739 w 1197643"/>
                    <a:gd name="connsiteY129" fmla="*/ 288925 h 1304925"/>
                    <a:gd name="connsiteX130" fmla="*/ 586062 w 1197643"/>
                    <a:gd name="connsiteY130" fmla="*/ 288925 h 1304925"/>
                    <a:gd name="connsiteX131" fmla="*/ 586062 w 1197643"/>
                    <a:gd name="connsiteY131" fmla="*/ 266171 h 1304925"/>
                    <a:gd name="connsiteX132" fmla="*/ 550401 w 1197643"/>
                    <a:gd name="connsiteY132" fmla="*/ 254794 h 1304925"/>
                    <a:gd name="connsiteX133" fmla="*/ 561813 w 1197643"/>
                    <a:gd name="connsiteY133" fmla="*/ 229907 h 1304925"/>
                    <a:gd name="connsiteX134" fmla="*/ 594621 w 1197643"/>
                    <a:gd name="connsiteY134" fmla="*/ 241284 h 1304925"/>
                    <a:gd name="connsiteX135" fmla="*/ 620297 w 1197643"/>
                    <a:gd name="connsiteY135" fmla="*/ 224218 h 1304925"/>
                    <a:gd name="connsiteX136" fmla="*/ 613878 w 1197643"/>
                    <a:gd name="connsiteY136" fmla="*/ 208575 h 1304925"/>
                    <a:gd name="connsiteX137" fmla="*/ 588915 w 1197643"/>
                    <a:gd name="connsiteY137" fmla="*/ 191509 h 1304925"/>
                    <a:gd name="connsiteX138" fmla="*/ 564666 w 1197643"/>
                    <a:gd name="connsiteY138" fmla="*/ 177288 h 1304925"/>
                    <a:gd name="connsiteX139" fmla="*/ 553967 w 1197643"/>
                    <a:gd name="connsiteY139" fmla="*/ 162355 h 1304925"/>
                    <a:gd name="connsiteX140" fmla="*/ 551114 w 1197643"/>
                    <a:gd name="connsiteY140" fmla="*/ 144579 h 1304925"/>
                    <a:gd name="connsiteX141" fmla="*/ 561100 w 1197643"/>
                    <a:gd name="connsiteY141" fmla="*/ 118980 h 1304925"/>
                    <a:gd name="connsiteX142" fmla="*/ 586062 w 1197643"/>
                    <a:gd name="connsiteY142" fmla="*/ 104048 h 1304925"/>
                    <a:gd name="connsiteX143" fmla="*/ 586062 w 1197643"/>
                    <a:gd name="connsiteY143" fmla="*/ 84138 h 1304925"/>
                    <a:gd name="connsiteX144" fmla="*/ 248776 w 1197643"/>
                    <a:gd name="connsiteY144" fmla="*/ 31750 h 1304925"/>
                    <a:gd name="connsiteX145" fmla="*/ 248776 w 1197643"/>
                    <a:gd name="connsiteY145" fmla="*/ 341312 h 1304925"/>
                    <a:gd name="connsiteX146" fmla="*/ 947276 w 1197643"/>
                    <a:gd name="connsiteY146" fmla="*/ 341312 h 1304925"/>
                    <a:gd name="connsiteX147" fmla="*/ 947276 w 1197643"/>
                    <a:gd name="connsiteY147" fmla="*/ 31750 h 1304925"/>
                    <a:gd name="connsiteX148" fmla="*/ 248776 w 1197643"/>
                    <a:gd name="connsiteY148" fmla="*/ 31750 h 1304925"/>
                    <a:gd name="connsiteX149" fmla="*/ 226319 w 1197643"/>
                    <a:gd name="connsiteY149" fmla="*/ 0 h 1304925"/>
                    <a:gd name="connsiteX150" fmla="*/ 969734 w 1197643"/>
                    <a:gd name="connsiteY150" fmla="*/ 0 h 1304925"/>
                    <a:gd name="connsiteX151" fmla="*/ 979026 w 1197643"/>
                    <a:gd name="connsiteY151" fmla="*/ 8576 h 1304925"/>
                    <a:gd name="connsiteX152" fmla="*/ 979026 w 1197643"/>
                    <a:gd name="connsiteY152" fmla="*/ 363771 h 1304925"/>
                    <a:gd name="connsiteX153" fmla="*/ 969734 w 1197643"/>
                    <a:gd name="connsiteY153" fmla="*/ 373062 h 1304925"/>
                    <a:gd name="connsiteX154" fmla="*/ 226319 w 1197643"/>
                    <a:gd name="connsiteY154" fmla="*/ 373062 h 1304925"/>
                    <a:gd name="connsiteX155" fmla="*/ 217026 w 1197643"/>
                    <a:gd name="connsiteY155" fmla="*/ 363771 h 1304925"/>
                    <a:gd name="connsiteX156" fmla="*/ 217026 w 1197643"/>
                    <a:gd name="connsiteY156" fmla="*/ 8576 h 1304925"/>
                    <a:gd name="connsiteX157" fmla="*/ 226319 w 1197643"/>
                    <a:gd name="connsiteY157"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197643" h="1304925">
                      <a:moveTo>
                        <a:pt x="1077708" y="315913"/>
                      </a:moveTo>
                      <a:cubicBezTo>
                        <a:pt x="1074130" y="315913"/>
                        <a:pt x="1069838" y="316627"/>
                        <a:pt x="1066261" y="318056"/>
                      </a:cubicBezTo>
                      <a:cubicBezTo>
                        <a:pt x="1056245" y="321628"/>
                        <a:pt x="1048375" y="328057"/>
                        <a:pt x="1044083" y="337344"/>
                      </a:cubicBezTo>
                      <a:cubicBezTo>
                        <a:pt x="1039075" y="346631"/>
                        <a:pt x="1039075" y="356632"/>
                        <a:pt x="1041936" y="366634"/>
                      </a:cubicBezTo>
                      <a:cubicBezTo>
                        <a:pt x="1041936" y="366634"/>
                        <a:pt x="1041936" y="366634"/>
                        <a:pt x="1065545" y="434499"/>
                      </a:cubicBezTo>
                      <a:cubicBezTo>
                        <a:pt x="1085577" y="493792"/>
                        <a:pt x="1088439" y="556657"/>
                        <a:pt x="1074130" y="617379"/>
                      </a:cubicBezTo>
                      <a:cubicBezTo>
                        <a:pt x="1074130" y="617379"/>
                        <a:pt x="1074130" y="617379"/>
                        <a:pt x="1071984" y="623809"/>
                      </a:cubicBezTo>
                      <a:cubicBezTo>
                        <a:pt x="1056245" y="688817"/>
                        <a:pt x="1019043" y="746681"/>
                        <a:pt x="966816" y="788829"/>
                      </a:cubicBezTo>
                      <a:cubicBezTo>
                        <a:pt x="966816" y="788829"/>
                        <a:pt x="966816" y="788829"/>
                        <a:pt x="946069" y="805260"/>
                      </a:cubicBezTo>
                      <a:cubicBezTo>
                        <a:pt x="938199" y="811689"/>
                        <a:pt x="929614" y="814547"/>
                        <a:pt x="920314" y="814547"/>
                      </a:cubicBezTo>
                      <a:cubicBezTo>
                        <a:pt x="906005" y="814547"/>
                        <a:pt x="893127" y="807403"/>
                        <a:pt x="885258" y="795973"/>
                      </a:cubicBezTo>
                      <a:cubicBezTo>
                        <a:pt x="878103" y="783829"/>
                        <a:pt x="876673" y="769541"/>
                        <a:pt x="882396" y="756682"/>
                      </a:cubicBezTo>
                      <a:cubicBezTo>
                        <a:pt x="882396" y="756682"/>
                        <a:pt x="882396" y="756682"/>
                        <a:pt x="931045" y="646669"/>
                      </a:cubicBezTo>
                      <a:cubicBezTo>
                        <a:pt x="937484" y="631667"/>
                        <a:pt x="931760" y="613807"/>
                        <a:pt x="917452" y="605235"/>
                      </a:cubicBezTo>
                      <a:cubicBezTo>
                        <a:pt x="912444" y="602377"/>
                        <a:pt x="906721" y="600949"/>
                        <a:pt x="901713" y="600949"/>
                      </a:cubicBezTo>
                      <a:cubicBezTo>
                        <a:pt x="890266" y="600949"/>
                        <a:pt x="880250" y="606664"/>
                        <a:pt x="873811" y="616665"/>
                      </a:cubicBezTo>
                      <a:cubicBezTo>
                        <a:pt x="873811" y="616665"/>
                        <a:pt x="873811" y="616665"/>
                        <a:pt x="710693" y="875268"/>
                      </a:cubicBezTo>
                      <a:cubicBezTo>
                        <a:pt x="696385" y="897414"/>
                        <a:pt x="688515" y="923846"/>
                        <a:pt x="688515" y="950278"/>
                      </a:cubicBezTo>
                      <a:cubicBezTo>
                        <a:pt x="688515" y="950278"/>
                        <a:pt x="688515" y="950278"/>
                        <a:pt x="689946" y="1273175"/>
                      </a:cubicBezTo>
                      <a:cubicBezTo>
                        <a:pt x="689946" y="1273175"/>
                        <a:pt x="689946" y="1273175"/>
                        <a:pt x="956800" y="1273175"/>
                      </a:cubicBezTo>
                      <a:cubicBezTo>
                        <a:pt x="956800" y="1273175"/>
                        <a:pt x="956800" y="1273175"/>
                        <a:pt x="956800" y="1096010"/>
                      </a:cubicBezTo>
                      <a:cubicBezTo>
                        <a:pt x="956800" y="1094581"/>
                        <a:pt x="956800" y="1093153"/>
                        <a:pt x="956800" y="1091724"/>
                      </a:cubicBezTo>
                      <a:cubicBezTo>
                        <a:pt x="961808" y="1057434"/>
                        <a:pt x="974686" y="1024573"/>
                        <a:pt x="993287" y="995998"/>
                      </a:cubicBezTo>
                      <a:cubicBezTo>
                        <a:pt x="993287" y="995998"/>
                        <a:pt x="993287" y="995998"/>
                        <a:pt x="1059822" y="896700"/>
                      </a:cubicBezTo>
                      <a:cubicBezTo>
                        <a:pt x="1104894" y="828120"/>
                        <a:pt x="1136373" y="753110"/>
                        <a:pt x="1153543" y="672386"/>
                      </a:cubicBezTo>
                      <a:cubicBezTo>
                        <a:pt x="1153543" y="672386"/>
                        <a:pt x="1153543" y="672386"/>
                        <a:pt x="1156405" y="659527"/>
                      </a:cubicBezTo>
                      <a:cubicBezTo>
                        <a:pt x="1174290" y="575945"/>
                        <a:pt x="1168567" y="488792"/>
                        <a:pt x="1138519" y="408067"/>
                      </a:cubicBezTo>
                      <a:cubicBezTo>
                        <a:pt x="1138519" y="408067"/>
                        <a:pt x="1138519" y="408067"/>
                        <a:pt x="1113479" y="340916"/>
                      </a:cubicBezTo>
                      <a:cubicBezTo>
                        <a:pt x="1107756" y="325914"/>
                        <a:pt x="1093447" y="315913"/>
                        <a:pt x="1077708" y="315913"/>
                      </a:cubicBezTo>
                      <a:close/>
                      <a:moveTo>
                        <a:pt x="118348" y="315913"/>
                      </a:moveTo>
                      <a:cubicBezTo>
                        <a:pt x="102609" y="315913"/>
                        <a:pt x="88300" y="325914"/>
                        <a:pt x="82577" y="340916"/>
                      </a:cubicBezTo>
                      <a:cubicBezTo>
                        <a:pt x="82577" y="340916"/>
                        <a:pt x="82577" y="340916"/>
                        <a:pt x="57537" y="408067"/>
                      </a:cubicBezTo>
                      <a:cubicBezTo>
                        <a:pt x="27489" y="488792"/>
                        <a:pt x="21765" y="575945"/>
                        <a:pt x="39651" y="659527"/>
                      </a:cubicBezTo>
                      <a:cubicBezTo>
                        <a:pt x="39651" y="659527"/>
                        <a:pt x="39651" y="659527"/>
                        <a:pt x="42513" y="672386"/>
                      </a:cubicBezTo>
                      <a:cubicBezTo>
                        <a:pt x="59683" y="753110"/>
                        <a:pt x="91162" y="828120"/>
                        <a:pt x="136234" y="896700"/>
                      </a:cubicBezTo>
                      <a:cubicBezTo>
                        <a:pt x="136234" y="896700"/>
                        <a:pt x="136234" y="896700"/>
                        <a:pt x="202768" y="995998"/>
                      </a:cubicBezTo>
                      <a:cubicBezTo>
                        <a:pt x="221369" y="1024573"/>
                        <a:pt x="234247" y="1057434"/>
                        <a:pt x="239255" y="1091724"/>
                      </a:cubicBezTo>
                      <a:cubicBezTo>
                        <a:pt x="239255" y="1093153"/>
                        <a:pt x="239255" y="1094581"/>
                        <a:pt x="239255" y="1096010"/>
                      </a:cubicBezTo>
                      <a:cubicBezTo>
                        <a:pt x="239255" y="1096010"/>
                        <a:pt x="239255" y="1096010"/>
                        <a:pt x="239255" y="1273175"/>
                      </a:cubicBezTo>
                      <a:cubicBezTo>
                        <a:pt x="239255" y="1273175"/>
                        <a:pt x="239255" y="1273175"/>
                        <a:pt x="506109" y="1273175"/>
                      </a:cubicBezTo>
                      <a:cubicBezTo>
                        <a:pt x="506109" y="1273175"/>
                        <a:pt x="506109" y="1273175"/>
                        <a:pt x="507540" y="950278"/>
                      </a:cubicBezTo>
                      <a:cubicBezTo>
                        <a:pt x="507540" y="923846"/>
                        <a:pt x="499671" y="897414"/>
                        <a:pt x="485362" y="875268"/>
                      </a:cubicBezTo>
                      <a:cubicBezTo>
                        <a:pt x="485362" y="875268"/>
                        <a:pt x="485362" y="875268"/>
                        <a:pt x="322245" y="616665"/>
                      </a:cubicBezTo>
                      <a:cubicBezTo>
                        <a:pt x="315806" y="606664"/>
                        <a:pt x="305790" y="600949"/>
                        <a:pt x="294343" y="600949"/>
                      </a:cubicBezTo>
                      <a:cubicBezTo>
                        <a:pt x="289335" y="600949"/>
                        <a:pt x="283612" y="602377"/>
                        <a:pt x="278604" y="605235"/>
                      </a:cubicBezTo>
                      <a:cubicBezTo>
                        <a:pt x="264295" y="613807"/>
                        <a:pt x="258572" y="631667"/>
                        <a:pt x="265010" y="646669"/>
                      </a:cubicBezTo>
                      <a:cubicBezTo>
                        <a:pt x="265010" y="646669"/>
                        <a:pt x="265010" y="646669"/>
                        <a:pt x="313659" y="756682"/>
                      </a:cubicBezTo>
                      <a:cubicBezTo>
                        <a:pt x="319383" y="769541"/>
                        <a:pt x="317952" y="783829"/>
                        <a:pt x="310798" y="795973"/>
                      </a:cubicBezTo>
                      <a:cubicBezTo>
                        <a:pt x="302928" y="807403"/>
                        <a:pt x="290050" y="814547"/>
                        <a:pt x="275742" y="814547"/>
                      </a:cubicBezTo>
                      <a:cubicBezTo>
                        <a:pt x="266441" y="814547"/>
                        <a:pt x="257856" y="811689"/>
                        <a:pt x="249986" y="805260"/>
                      </a:cubicBezTo>
                      <a:cubicBezTo>
                        <a:pt x="249986" y="805260"/>
                        <a:pt x="249986" y="805260"/>
                        <a:pt x="229239" y="788829"/>
                      </a:cubicBezTo>
                      <a:cubicBezTo>
                        <a:pt x="177013" y="746681"/>
                        <a:pt x="139811" y="688817"/>
                        <a:pt x="124071" y="623809"/>
                      </a:cubicBezTo>
                      <a:cubicBezTo>
                        <a:pt x="124071" y="623809"/>
                        <a:pt x="124071" y="623809"/>
                        <a:pt x="121925" y="617379"/>
                      </a:cubicBezTo>
                      <a:cubicBezTo>
                        <a:pt x="107616" y="556657"/>
                        <a:pt x="110478" y="493792"/>
                        <a:pt x="130510" y="434499"/>
                      </a:cubicBezTo>
                      <a:cubicBezTo>
                        <a:pt x="130510" y="434499"/>
                        <a:pt x="130510" y="434499"/>
                        <a:pt x="154119" y="366634"/>
                      </a:cubicBezTo>
                      <a:cubicBezTo>
                        <a:pt x="157696" y="356632"/>
                        <a:pt x="156981" y="346631"/>
                        <a:pt x="151973" y="337344"/>
                      </a:cubicBezTo>
                      <a:cubicBezTo>
                        <a:pt x="147680" y="328057"/>
                        <a:pt x="139811" y="321628"/>
                        <a:pt x="129795" y="318056"/>
                      </a:cubicBezTo>
                      <a:cubicBezTo>
                        <a:pt x="126218" y="316627"/>
                        <a:pt x="121925" y="315913"/>
                        <a:pt x="118348" y="315913"/>
                      </a:cubicBezTo>
                      <a:close/>
                      <a:moveTo>
                        <a:pt x="1078223" y="284163"/>
                      </a:moveTo>
                      <a:cubicBezTo>
                        <a:pt x="1106785" y="284163"/>
                        <a:pt x="1133206" y="302034"/>
                        <a:pt x="1143202" y="329912"/>
                      </a:cubicBezTo>
                      <a:cubicBezTo>
                        <a:pt x="1143202" y="329912"/>
                        <a:pt x="1143202" y="329912"/>
                        <a:pt x="1168195" y="396390"/>
                      </a:cubicBezTo>
                      <a:cubicBezTo>
                        <a:pt x="1199614" y="482883"/>
                        <a:pt x="1206040" y="576524"/>
                        <a:pt x="1186760" y="665877"/>
                      </a:cubicBezTo>
                      <a:cubicBezTo>
                        <a:pt x="1186760" y="665877"/>
                        <a:pt x="1186760" y="665877"/>
                        <a:pt x="1183904" y="679458"/>
                      </a:cubicBezTo>
                      <a:cubicBezTo>
                        <a:pt x="1166767" y="763092"/>
                        <a:pt x="1133206" y="842437"/>
                        <a:pt x="1086077" y="913919"/>
                      </a:cubicBezTo>
                      <a:cubicBezTo>
                        <a:pt x="1086077" y="913919"/>
                        <a:pt x="1086077" y="913919"/>
                        <a:pt x="1020383" y="1013279"/>
                      </a:cubicBezTo>
                      <a:cubicBezTo>
                        <a:pt x="1003960" y="1038298"/>
                        <a:pt x="993249" y="1066890"/>
                        <a:pt x="988964" y="1096198"/>
                      </a:cubicBezTo>
                      <a:cubicBezTo>
                        <a:pt x="988964" y="1096198"/>
                        <a:pt x="988964" y="1096198"/>
                        <a:pt x="989678" y="1289199"/>
                      </a:cubicBezTo>
                      <a:cubicBezTo>
                        <a:pt x="989678" y="1297777"/>
                        <a:pt x="982538" y="1304925"/>
                        <a:pt x="973969" y="1304925"/>
                      </a:cubicBezTo>
                      <a:cubicBezTo>
                        <a:pt x="973969" y="1304925"/>
                        <a:pt x="973969" y="1304925"/>
                        <a:pt x="667635" y="1304925"/>
                      </a:cubicBezTo>
                      <a:cubicBezTo>
                        <a:pt x="662637" y="1302066"/>
                        <a:pt x="659780" y="1296347"/>
                        <a:pt x="659780" y="1291344"/>
                      </a:cubicBezTo>
                      <a:cubicBezTo>
                        <a:pt x="659780" y="1291344"/>
                        <a:pt x="659780" y="1291344"/>
                        <a:pt x="658352" y="950375"/>
                      </a:cubicBezTo>
                      <a:cubicBezTo>
                        <a:pt x="658352" y="917493"/>
                        <a:pt x="667635" y="886041"/>
                        <a:pt x="684773" y="858163"/>
                      </a:cubicBezTo>
                      <a:cubicBezTo>
                        <a:pt x="684773" y="858163"/>
                        <a:pt x="684773" y="858163"/>
                        <a:pt x="849008" y="599398"/>
                      </a:cubicBezTo>
                      <a:cubicBezTo>
                        <a:pt x="860433" y="580098"/>
                        <a:pt x="881141" y="569376"/>
                        <a:pt x="902563" y="569376"/>
                      </a:cubicBezTo>
                      <a:cubicBezTo>
                        <a:pt x="912559" y="569376"/>
                        <a:pt x="923984" y="572235"/>
                        <a:pt x="933267" y="577954"/>
                      </a:cubicBezTo>
                      <a:cubicBezTo>
                        <a:pt x="961830" y="594395"/>
                        <a:pt x="973969" y="629421"/>
                        <a:pt x="960402" y="659443"/>
                      </a:cubicBezTo>
                      <a:cubicBezTo>
                        <a:pt x="960402" y="659443"/>
                        <a:pt x="960402" y="659443"/>
                        <a:pt x="911845" y="769525"/>
                      </a:cubicBezTo>
                      <a:cubicBezTo>
                        <a:pt x="908989" y="776674"/>
                        <a:pt x="914702" y="783107"/>
                        <a:pt x="921128" y="783107"/>
                      </a:cubicBezTo>
                      <a:cubicBezTo>
                        <a:pt x="922556" y="783107"/>
                        <a:pt x="924699" y="782392"/>
                        <a:pt x="926841" y="780963"/>
                      </a:cubicBezTo>
                      <a:cubicBezTo>
                        <a:pt x="926841" y="780963"/>
                        <a:pt x="926841" y="780963"/>
                        <a:pt x="948263" y="763807"/>
                      </a:cubicBezTo>
                      <a:cubicBezTo>
                        <a:pt x="994677" y="726636"/>
                        <a:pt x="1028238" y="674454"/>
                        <a:pt x="1042519" y="616554"/>
                      </a:cubicBezTo>
                      <a:cubicBezTo>
                        <a:pt x="1042519" y="616554"/>
                        <a:pt x="1042519" y="616554"/>
                        <a:pt x="1043947" y="609406"/>
                      </a:cubicBezTo>
                      <a:cubicBezTo>
                        <a:pt x="1057515" y="555080"/>
                        <a:pt x="1054658" y="497894"/>
                        <a:pt x="1036093" y="444997"/>
                      </a:cubicBezTo>
                      <a:cubicBezTo>
                        <a:pt x="1036093" y="444997"/>
                        <a:pt x="1036093" y="444997"/>
                        <a:pt x="1013243" y="376375"/>
                      </a:cubicBezTo>
                      <a:cubicBezTo>
                        <a:pt x="1000389" y="339919"/>
                        <a:pt x="1019669" y="299889"/>
                        <a:pt x="1056801" y="287737"/>
                      </a:cubicBezTo>
                      <a:cubicBezTo>
                        <a:pt x="1063941" y="285593"/>
                        <a:pt x="1071082" y="284163"/>
                        <a:pt x="1078223" y="284163"/>
                      </a:cubicBezTo>
                      <a:close/>
                      <a:moveTo>
                        <a:pt x="119420" y="284163"/>
                      </a:moveTo>
                      <a:cubicBezTo>
                        <a:pt x="126561" y="284163"/>
                        <a:pt x="133701" y="285593"/>
                        <a:pt x="140842" y="287737"/>
                      </a:cubicBezTo>
                      <a:cubicBezTo>
                        <a:pt x="177973" y="299889"/>
                        <a:pt x="197253" y="339919"/>
                        <a:pt x="184400" y="376375"/>
                      </a:cubicBezTo>
                      <a:cubicBezTo>
                        <a:pt x="184400" y="376375"/>
                        <a:pt x="184400" y="376375"/>
                        <a:pt x="161550" y="444997"/>
                      </a:cubicBezTo>
                      <a:cubicBezTo>
                        <a:pt x="142984" y="497894"/>
                        <a:pt x="140128" y="555080"/>
                        <a:pt x="153695" y="609406"/>
                      </a:cubicBezTo>
                      <a:cubicBezTo>
                        <a:pt x="153695" y="609406"/>
                        <a:pt x="153695" y="609406"/>
                        <a:pt x="155123" y="616554"/>
                      </a:cubicBezTo>
                      <a:cubicBezTo>
                        <a:pt x="169404" y="674454"/>
                        <a:pt x="202966" y="726636"/>
                        <a:pt x="249380" y="763807"/>
                      </a:cubicBezTo>
                      <a:cubicBezTo>
                        <a:pt x="249380" y="763807"/>
                        <a:pt x="249380" y="763807"/>
                        <a:pt x="270802" y="780963"/>
                      </a:cubicBezTo>
                      <a:cubicBezTo>
                        <a:pt x="272944" y="782392"/>
                        <a:pt x="275086" y="783107"/>
                        <a:pt x="276514" y="783107"/>
                      </a:cubicBezTo>
                      <a:cubicBezTo>
                        <a:pt x="282941" y="783107"/>
                        <a:pt x="288653" y="776674"/>
                        <a:pt x="285797" y="769525"/>
                      </a:cubicBezTo>
                      <a:cubicBezTo>
                        <a:pt x="285797" y="769525"/>
                        <a:pt x="285797" y="769525"/>
                        <a:pt x="237241" y="659443"/>
                      </a:cubicBezTo>
                      <a:cubicBezTo>
                        <a:pt x="223673" y="629421"/>
                        <a:pt x="235813" y="594395"/>
                        <a:pt x="264375" y="577954"/>
                      </a:cubicBezTo>
                      <a:cubicBezTo>
                        <a:pt x="273658" y="572235"/>
                        <a:pt x="285083" y="569376"/>
                        <a:pt x="295080" y="569376"/>
                      </a:cubicBezTo>
                      <a:cubicBezTo>
                        <a:pt x="316502" y="569376"/>
                        <a:pt x="337210" y="580098"/>
                        <a:pt x="348635" y="599398"/>
                      </a:cubicBezTo>
                      <a:cubicBezTo>
                        <a:pt x="348635" y="599398"/>
                        <a:pt x="348635" y="599398"/>
                        <a:pt x="512870" y="858163"/>
                      </a:cubicBezTo>
                      <a:cubicBezTo>
                        <a:pt x="530007" y="886041"/>
                        <a:pt x="539290" y="917493"/>
                        <a:pt x="539290" y="950375"/>
                      </a:cubicBezTo>
                      <a:cubicBezTo>
                        <a:pt x="539290" y="950375"/>
                        <a:pt x="539290" y="950375"/>
                        <a:pt x="537862" y="1291344"/>
                      </a:cubicBezTo>
                      <a:cubicBezTo>
                        <a:pt x="537862" y="1296347"/>
                        <a:pt x="535006" y="1302066"/>
                        <a:pt x="530007" y="1304925"/>
                      </a:cubicBezTo>
                      <a:cubicBezTo>
                        <a:pt x="530007" y="1304925"/>
                        <a:pt x="530007" y="1304925"/>
                        <a:pt x="224387" y="1304925"/>
                      </a:cubicBezTo>
                      <a:cubicBezTo>
                        <a:pt x="223673" y="1304925"/>
                        <a:pt x="223673" y="1304925"/>
                        <a:pt x="223673" y="1304925"/>
                      </a:cubicBezTo>
                      <a:cubicBezTo>
                        <a:pt x="215105" y="1304925"/>
                        <a:pt x="207964" y="1297777"/>
                        <a:pt x="207964" y="1289199"/>
                      </a:cubicBezTo>
                      <a:cubicBezTo>
                        <a:pt x="207964" y="1289199"/>
                        <a:pt x="207964" y="1289199"/>
                        <a:pt x="208678" y="1096198"/>
                      </a:cubicBezTo>
                      <a:cubicBezTo>
                        <a:pt x="204394" y="1066890"/>
                        <a:pt x="193683" y="1038298"/>
                        <a:pt x="177259" y="1013279"/>
                      </a:cubicBezTo>
                      <a:cubicBezTo>
                        <a:pt x="177259" y="1013279"/>
                        <a:pt x="177259" y="1013279"/>
                        <a:pt x="111565" y="913919"/>
                      </a:cubicBezTo>
                      <a:cubicBezTo>
                        <a:pt x="64437" y="842437"/>
                        <a:pt x="30876" y="763092"/>
                        <a:pt x="13738" y="679458"/>
                      </a:cubicBezTo>
                      <a:cubicBezTo>
                        <a:pt x="13738" y="679458"/>
                        <a:pt x="13738" y="679458"/>
                        <a:pt x="10882" y="665877"/>
                      </a:cubicBezTo>
                      <a:cubicBezTo>
                        <a:pt x="-8398" y="576524"/>
                        <a:pt x="-1971" y="482883"/>
                        <a:pt x="29448" y="396390"/>
                      </a:cubicBezTo>
                      <a:cubicBezTo>
                        <a:pt x="29448" y="396390"/>
                        <a:pt x="29448" y="396390"/>
                        <a:pt x="54440" y="329912"/>
                      </a:cubicBezTo>
                      <a:cubicBezTo>
                        <a:pt x="64437" y="302034"/>
                        <a:pt x="90857" y="284163"/>
                        <a:pt x="119420" y="284163"/>
                      </a:cubicBezTo>
                      <a:close/>
                      <a:moveTo>
                        <a:pt x="586062" y="84138"/>
                      </a:moveTo>
                      <a:cubicBezTo>
                        <a:pt x="611739" y="84138"/>
                        <a:pt x="611739" y="84138"/>
                        <a:pt x="611739" y="84138"/>
                      </a:cubicBezTo>
                      <a:cubicBezTo>
                        <a:pt x="611739" y="102626"/>
                        <a:pt x="611739" y="102626"/>
                        <a:pt x="611739" y="102626"/>
                      </a:cubicBezTo>
                      <a:cubicBezTo>
                        <a:pt x="624577" y="104048"/>
                        <a:pt x="635988" y="106892"/>
                        <a:pt x="641694" y="112581"/>
                      </a:cubicBezTo>
                      <a:cubicBezTo>
                        <a:pt x="633849" y="136046"/>
                        <a:pt x="633849" y="136046"/>
                        <a:pt x="633849" y="136046"/>
                      </a:cubicBezTo>
                      <a:cubicBezTo>
                        <a:pt x="623150" y="128935"/>
                        <a:pt x="611739" y="125380"/>
                        <a:pt x="600327" y="125380"/>
                      </a:cubicBezTo>
                      <a:cubicBezTo>
                        <a:pt x="593908" y="125380"/>
                        <a:pt x="588915" y="127513"/>
                        <a:pt x="585349" y="130357"/>
                      </a:cubicBezTo>
                      <a:cubicBezTo>
                        <a:pt x="581070" y="133913"/>
                        <a:pt x="579643" y="138890"/>
                        <a:pt x="579643" y="144579"/>
                      </a:cubicBezTo>
                      <a:cubicBezTo>
                        <a:pt x="579643" y="153112"/>
                        <a:pt x="589629" y="163066"/>
                        <a:pt x="611025" y="172310"/>
                      </a:cubicBezTo>
                      <a:cubicBezTo>
                        <a:pt x="621724" y="177999"/>
                        <a:pt x="630282" y="183687"/>
                        <a:pt x="635275" y="187954"/>
                      </a:cubicBezTo>
                      <a:cubicBezTo>
                        <a:pt x="639554" y="192220"/>
                        <a:pt x="642407" y="197198"/>
                        <a:pt x="645260" y="202886"/>
                      </a:cubicBezTo>
                      <a:cubicBezTo>
                        <a:pt x="647400" y="209286"/>
                        <a:pt x="648826" y="214974"/>
                        <a:pt x="648826" y="222085"/>
                      </a:cubicBezTo>
                      <a:cubicBezTo>
                        <a:pt x="648826" y="232751"/>
                        <a:pt x="645973" y="241284"/>
                        <a:pt x="638841" y="249105"/>
                      </a:cubicBezTo>
                      <a:cubicBezTo>
                        <a:pt x="633135" y="256216"/>
                        <a:pt x="623150" y="261905"/>
                        <a:pt x="611739" y="264749"/>
                      </a:cubicBezTo>
                      <a:cubicBezTo>
                        <a:pt x="611739" y="288925"/>
                        <a:pt x="611739" y="288925"/>
                        <a:pt x="611739" y="288925"/>
                      </a:cubicBezTo>
                      <a:cubicBezTo>
                        <a:pt x="586062" y="288925"/>
                        <a:pt x="586062" y="288925"/>
                        <a:pt x="586062" y="288925"/>
                      </a:cubicBezTo>
                      <a:cubicBezTo>
                        <a:pt x="586062" y="266171"/>
                        <a:pt x="586062" y="266171"/>
                        <a:pt x="586062" y="266171"/>
                      </a:cubicBezTo>
                      <a:cubicBezTo>
                        <a:pt x="573224" y="266171"/>
                        <a:pt x="561813" y="261905"/>
                        <a:pt x="550401" y="254794"/>
                      </a:cubicBezTo>
                      <a:cubicBezTo>
                        <a:pt x="561813" y="229907"/>
                        <a:pt x="561813" y="229907"/>
                        <a:pt x="561813" y="229907"/>
                      </a:cubicBezTo>
                      <a:cubicBezTo>
                        <a:pt x="572511" y="237728"/>
                        <a:pt x="583923" y="241284"/>
                        <a:pt x="594621" y="241284"/>
                      </a:cubicBezTo>
                      <a:cubicBezTo>
                        <a:pt x="611739" y="241284"/>
                        <a:pt x="620297" y="235595"/>
                        <a:pt x="620297" y="224218"/>
                      </a:cubicBezTo>
                      <a:cubicBezTo>
                        <a:pt x="620297" y="218530"/>
                        <a:pt x="618158" y="213552"/>
                        <a:pt x="613878" y="208575"/>
                      </a:cubicBezTo>
                      <a:cubicBezTo>
                        <a:pt x="609599" y="203597"/>
                        <a:pt x="601040" y="197909"/>
                        <a:pt x="588915" y="191509"/>
                      </a:cubicBezTo>
                      <a:cubicBezTo>
                        <a:pt x="576791" y="185821"/>
                        <a:pt x="569658" y="180843"/>
                        <a:pt x="564666" y="177288"/>
                      </a:cubicBezTo>
                      <a:cubicBezTo>
                        <a:pt x="560386" y="172310"/>
                        <a:pt x="557533" y="168044"/>
                        <a:pt x="553967" y="162355"/>
                      </a:cubicBezTo>
                      <a:cubicBezTo>
                        <a:pt x="551828" y="156667"/>
                        <a:pt x="551114" y="150978"/>
                        <a:pt x="551114" y="144579"/>
                      </a:cubicBezTo>
                      <a:cubicBezTo>
                        <a:pt x="551114" y="133913"/>
                        <a:pt x="553967" y="125380"/>
                        <a:pt x="561100" y="118980"/>
                      </a:cubicBezTo>
                      <a:cubicBezTo>
                        <a:pt x="567519" y="111870"/>
                        <a:pt x="575364" y="106892"/>
                        <a:pt x="586062" y="104048"/>
                      </a:cubicBezTo>
                      <a:cubicBezTo>
                        <a:pt x="586062" y="84138"/>
                        <a:pt x="586062" y="84138"/>
                        <a:pt x="586062" y="84138"/>
                      </a:cubicBezTo>
                      <a:close/>
                      <a:moveTo>
                        <a:pt x="248776" y="31750"/>
                      </a:moveTo>
                      <a:cubicBezTo>
                        <a:pt x="248776" y="31750"/>
                        <a:pt x="248776" y="31750"/>
                        <a:pt x="248776" y="341312"/>
                      </a:cubicBezTo>
                      <a:cubicBezTo>
                        <a:pt x="248776" y="341312"/>
                        <a:pt x="248776" y="341312"/>
                        <a:pt x="947276" y="341312"/>
                      </a:cubicBezTo>
                      <a:cubicBezTo>
                        <a:pt x="947276" y="341312"/>
                        <a:pt x="947276" y="341312"/>
                        <a:pt x="947276" y="31750"/>
                      </a:cubicBezTo>
                      <a:cubicBezTo>
                        <a:pt x="947276" y="31750"/>
                        <a:pt x="947276" y="31750"/>
                        <a:pt x="248776" y="31750"/>
                      </a:cubicBezTo>
                      <a:close/>
                      <a:moveTo>
                        <a:pt x="226319" y="0"/>
                      </a:moveTo>
                      <a:cubicBezTo>
                        <a:pt x="969734" y="0"/>
                        <a:pt x="969734" y="0"/>
                        <a:pt x="969734" y="0"/>
                      </a:cubicBezTo>
                      <a:cubicBezTo>
                        <a:pt x="975452" y="0"/>
                        <a:pt x="979026" y="3574"/>
                        <a:pt x="979026" y="8576"/>
                      </a:cubicBezTo>
                      <a:cubicBezTo>
                        <a:pt x="979026" y="363771"/>
                        <a:pt x="979026" y="363771"/>
                        <a:pt x="979026" y="363771"/>
                      </a:cubicBezTo>
                      <a:cubicBezTo>
                        <a:pt x="979026" y="368774"/>
                        <a:pt x="975452" y="373062"/>
                        <a:pt x="969734" y="373062"/>
                      </a:cubicBezTo>
                      <a:cubicBezTo>
                        <a:pt x="226319" y="373062"/>
                        <a:pt x="226319" y="373062"/>
                        <a:pt x="226319" y="373062"/>
                      </a:cubicBezTo>
                      <a:cubicBezTo>
                        <a:pt x="221315" y="373062"/>
                        <a:pt x="217026" y="368774"/>
                        <a:pt x="217026" y="363771"/>
                      </a:cubicBezTo>
                      <a:cubicBezTo>
                        <a:pt x="217026" y="8576"/>
                        <a:pt x="217026" y="8576"/>
                        <a:pt x="217026" y="8576"/>
                      </a:cubicBezTo>
                      <a:cubicBezTo>
                        <a:pt x="217026" y="3574"/>
                        <a:pt x="221315" y="0"/>
                        <a:pt x="22631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spTree>
    <p:extLst>
      <p:ext uri="{BB962C8B-B14F-4D97-AF65-F5344CB8AC3E}">
        <p14:creationId xmlns:p14="http://schemas.microsoft.com/office/powerpoint/2010/main" val="2493066582"/>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B87429-80A3-4928-8253-F618DE9FF859}"/>
              </a:ext>
            </a:extLst>
          </p:cNvPr>
          <p:cNvGraphicFramePr>
            <a:graphicFrameLocks noChangeAspect="1"/>
          </p:cNvGraphicFramePr>
          <p:nvPr>
            <p:custDataLst>
              <p:tags r:id="rId3"/>
            </p:custDataLst>
            <p:extLst>
              <p:ext uri="{D42A27DB-BD31-4B8C-83A1-F6EECF244321}">
                <p14:modId xmlns:p14="http://schemas.microsoft.com/office/powerpoint/2010/main" val="2673869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4"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49E4B0D-EEE7-48AC-A63E-CD387772516F}"/>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3" name="Picture Placeholder 2">
            <a:extLst>
              <a:ext uri="{FF2B5EF4-FFF2-40B4-BE49-F238E27FC236}">
                <a16:creationId xmlns:a16="http://schemas.microsoft.com/office/drawing/2014/main" id="{47EF1B33-2D8F-4C2A-A048-165A1D2B20F0}"/>
              </a:ext>
            </a:extLst>
          </p:cNvPr>
          <p:cNvPicPr>
            <a:picLocks noGrp="1" noChangeAspect="1"/>
          </p:cNvPicPr>
          <p:nvPr>
            <p:ph type="pic" sz="quarter" idx="11"/>
          </p:nvPr>
        </p:nvPicPr>
        <p:blipFill>
          <a:blip r:embed="rId9"/>
          <a:srcRect l="28750" r="28750"/>
          <a:stretch>
            <a:fillRect/>
          </a:stretch>
        </p:blipFill>
        <p:spPr/>
      </p:pic>
      <p:sp>
        <p:nvSpPr>
          <p:cNvPr id="4" name="Title 3"/>
          <p:cNvSpPr>
            <a:spLocks noGrp="1"/>
          </p:cNvSpPr>
          <p:nvPr>
            <p:ph type="title"/>
          </p:nvPr>
        </p:nvSpPr>
        <p:spPr/>
        <p:txBody>
          <a:bodyPr/>
          <a:lstStyle/>
          <a:p>
            <a:r>
              <a:rPr lang="en-US" sz="4800" dirty="0"/>
              <a:t>Competitive</a:t>
            </a:r>
            <a:br>
              <a:rPr lang="en-US" sz="4800" dirty="0"/>
            </a:br>
            <a:r>
              <a:rPr lang="en-US" sz="4800" dirty="0"/>
              <a:t>Strength</a:t>
            </a:r>
            <a:br>
              <a:rPr lang="en-US" sz="4800" dirty="0"/>
            </a:br>
            <a:r>
              <a:rPr lang="en-US" sz="4800" dirty="0"/>
              <a:t>Ranking</a:t>
            </a:r>
          </a:p>
        </p:txBody>
      </p:sp>
    </p:spTree>
    <p:custDataLst>
      <p:tags r:id="rId2"/>
    </p:custDataLst>
    <p:extLst>
      <p:ext uri="{BB962C8B-B14F-4D97-AF65-F5344CB8AC3E}">
        <p14:creationId xmlns:p14="http://schemas.microsoft.com/office/powerpoint/2010/main" val="3786300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534130-2650-42D4-BF7A-D17FC6B84391}"/>
              </a:ext>
            </a:extLst>
          </p:cNvPr>
          <p:cNvGraphicFramePr>
            <a:graphicFrameLocks noChangeAspect="1"/>
          </p:cNvGraphicFramePr>
          <p:nvPr>
            <p:custDataLst>
              <p:tags r:id="rId3"/>
            </p:custDataLst>
            <p:extLst>
              <p:ext uri="{D42A27DB-BD31-4B8C-83A1-F6EECF244321}">
                <p14:modId xmlns:p14="http://schemas.microsoft.com/office/powerpoint/2010/main" val="136138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9"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F68229-F346-4A5E-95DD-E37C3E84862A}"/>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ee4pContent1"/>
          <p:cNvSpPr txBox="1"/>
          <p:nvPr/>
        </p:nvSpPr>
        <p:spPr>
          <a:xfrm>
            <a:off x="5323979" y="3381934"/>
            <a:ext cx="2517470" cy="253026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Proper event identification</a:t>
            </a:r>
          </a:p>
          <a:p>
            <a:endParaRPr lang="en-US" dirty="0">
              <a:latin typeface="+mn-lt"/>
            </a:endParaRPr>
          </a:p>
          <a:p>
            <a:r>
              <a:rPr lang="en-US" dirty="0">
                <a:latin typeface="+mn-lt"/>
              </a:rPr>
              <a:t>No penalty for poor opponents</a:t>
            </a:r>
          </a:p>
          <a:p>
            <a:endParaRPr lang="en-US" dirty="0">
              <a:latin typeface="+mn-lt"/>
            </a:endParaRPr>
          </a:p>
          <a:p>
            <a:endParaRPr lang="en-US" dirty="0">
              <a:latin typeface="+mn-lt"/>
            </a:endParaRPr>
          </a:p>
        </p:txBody>
      </p:sp>
      <p:sp>
        <p:nvSpPr>
          <p:cNvPr id="13" name="ee4pContent2"/>
          <p:cNvSpPr txBox="1"/>
          <p:nvPr/>
        </p:nvSpPr>
        <p:spPr>
          <a:xfrm>
            <a:off x="9046800" y="3376246"/>
            <a:ext cx="2517470" cy="248815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Empirical data of performance</a:t>
            </a:r>
          </a:p>
          <a:p>
            <a:endParaRPr lang="en-US" dirty="0">
              <a:latin typeface="+mn-lt"/>
            </a:endParaRPr>
          </a:p>
          <a:p>
            <a:r>
              <a:rPr lang="en-US" dirty="0">
                <a:latin typeface="+mn-lt"/>
              </a:rPr>
              <a:t>Helpful in indirect comparisons</a:t>
            </a:r>
          </a:p>
        </p:txBody>
      </p:sp>
      <p:sp>
        <p:nvSpPr>
          <p:cNvPr id="2" name="Title 1"/>
          <p:cNvSpPr>
            <a:spLocks noGrp="1"/>
          </p:cNvSpPr>
          <p:nvPr>
            <p:ph type="title"/>
          </p:nvPr>
        </p:nvSpPr>
        <p:spPr/>
        <p:txBody>
          <a:bodyPr/>
          <a:lstStyle/>
          <a:p>
            <a:r>
              <a:rPr lang="en-US" dirty="0"/>
              <a:t>CSR assists teams and committee in important decision making</a:t>
            </a:r>
          </a:p>
        </p:txBody>
      </p:sp>
      <p:grpSp>
        <p:nvGrpSpPr>
          <p:cNvPr id="9" name="Group 8">
            <a:extLst>
              <a:ext uri="{FF2B5EF4-FFF2-40B4-BE49-F238E27FC236}">
                <a16:creationId xmlns:a16="http://schemas.microsoft.com/office/drawing/2014/main" id="{CD2C5F1B-E7B0-4F21-9C1D-4CF286325492}"/>
              </a:ext>
            </a:extLst>
          </p:cNvPr>
          <p:cNvGrpSpPr>
            <a:grpSpLocks noChangeAspect="1"/>
          </p:cNvGrpSpPr>
          <p:nvPr/>
        </p:nvGrpSpPr>
        <p:grpSpPr>
          <a:xfrm>
            <a:off x="5323978" y="470142"/>
            <a:ext cx="1644650" cy="1644650"/>
            <a:chOff x="5273675" y="2606675"/>
            <a:chExt cx="1644650" cy="1644650"/>
          </a:xfrm>
        </p:grpSpPr>
        <p:sp>
          <p:nvSpPr>
            <p:cNvPr id="10" name="AutoShape 3">
              <a:extLst>
                <a:ext uri="{FF2B5EF4-FFF2-40B4-BE49-F238E27FC236}">
                  <a16:creationId xmlns:a16="http://schemas.microsoft.com/office/drawing/2014/main" id="{F7F0B648-BF78-4504-AD92-9BD03E8DB57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470D4DBF-00A4-44A4-B34E-811C80B23F54}"/>
                </a:ext>
              </a:extLst>
            </p:cNvPr>
            <p:cNvGrpSpPr/>
            <p:nvPr/>
          </p:nvGrpSpPr>
          <p:grpSpPr>
            <a:xfrm>
              <a:off x="5532438" y="2840037"/>
              <a:ext cx="1161676" cy="1238251"/>
              <a:chOff x="5532438" y="2840037"/>
              <a:chExt cx="1161676" cy="1238251"/>
            </a:xfrm>
          </p:grpSpPr>
          <p:sp>
            <p:nvSpPr>
              <p:cNvPr id="12" name="Freeform 10">
                <a:extLst>
                  <a:ext uri="{FF2B5EF4-FFF2-40B4-BE49-F238E27FC236}">
                    <a16:creationId xmlns:a16="http://schemas.microsoft.com/office/drawing/2014/main" id="{C70F08DF-8DD2-494B-8616-3323C0E8C518}"/>
                  </a:ext>
                </a:extLst>
              </p:cNvPr>
              <p:cNvSpPr>
                <a:spLocks/>
              </p:cNvSpPr>
              <p:nvPr/>
            </p:nvSpPr>
            <p:spPr bwMode="auto">
              <a:xfrm>
                <a:off x="5751361" y="2840037"/>
                <a:ext cx="845100" cy="1062038"/>
              </a:xfrm>
              <a:custGeom>
                <a:avLst/>
                <a:gdLst>
                  <a:gd name="connsiteX0" fmla="*/ 547262 w 845100"/>
                  <a:gd name="connsiteY0" fmla="*/ 142875 h 1062038"/>
                  <a:gd name="connsiteX1" fmla="*/ 844149 w 845100"/>
                  <a:gd name="connsiteY1" fmla="*/ 297020 h 1062038"/>
                  <a:gd name="connsiteX2" fmla="*/ 844863 w 845100"/>
                  <a:gd name="connsiteY2" fmla="*/ 304157 h 1062038"/>
                  <a:gd name="connsiteX3" fmla="*/ 829876 w 845100"/>
                  <a:gd name="connsiteY3" fmla="*/ 376948 h 1062038"/>
                  <a:gd name="connsiteX4" fmla="*/ 814889 w 845100"/>
                  <a:gd name="connsiteY4" fmla="*/ 404066 h 1062038"/>
                  <a:gd name="connsiteX5" fmla="*/ 806325 w 845100"/>
                  <a:gd name="connsiteY5" fmla="*/ 416911 h 1062038"/>
                  <a:gd name="connsiteX6" fmla="*/ 577950 w 845100"/>
                  <a:gd name="connsiteY6" fmla="*/ 638852 h 1062038"/>
                  <a:gd name="connsiteX7" fmla="*/ 574382 w 845100"/>
                  <a:gd name="connsiteY7" fmla="*/ 639566 h 1062038"/>
                  <a:gd name="connsiteX8" fmla="*/ 570100 w 845100"/>
                  <a:gd name="connsiteY8" fmla="*/ 628148 h 1062038"/>
                  <a:gd name="connsiteX9" fmla="*/ 613634 w 845100"/>
                  <a:gd name="connsiteY9" fmla="*/ 572484 h 1062038"/>
                  <a:gd name="connsiteX10" fmla="*/ 303187 w 845100"/>
                  <a:gd name="connsiteY10" fmla="*/ 710929 h 1062038"/>
                  <a:gd name="connsiteX11" fmla="*/ 341725 w 845100"/>
                  <a:gd name="connsiteY11" fmla="*/ 1061325 h 1062038"/>
                  <a:gd name="connsiteX12" fmla="*/ 338870 w 845100"/>
                  <a:gd name="connsiteY12" fmla="*/ 1062038 h 1062038"/>
                  <a:gd name="connsiteX13" fmla="*/ 321742 w 845100"/>
                  <a:gd name="connsiteY13" fmla="*/ 1057756 h 1062038"/>
                  <a:gd name="connsiteX14" fmla="*/ 290341 w 845100"/>
                  <a:gd name="connsiteY14" fmla="*/ 1041343 h 1062038"/>
                  <a:gd name="connsiteX15" fmla="*/ 5586 w 845100"/>
                  <a:gd name="connsiteY15" fmla="*/ 505402 h 1062038"/>
                  <a:gd name="connsiteX16" fmla="*/ 17005 w 845100"/>
                  <a:gd name="connsiteY16" fmla="*/ 492557 h 1062038"/>
                  <a:gd name="connsiteX17" fmla="*/ 47693 w 845100"/>
                  <a:gd name="connsiteY17" fmla="*/ 528239 h 1062038"/>
                  <a:gd name="connsiteX18" fmla="*/ 75526 w 845100"/>
                  <a:gd name="connsiteY18" fmla="*/ 521816 h 1062038"/>
                  <a:gd name="connsiteX19" fmla="*/ 108355 w 845100"/>
                  <a:gd name="connsiteY19" fmla="*/ 511825 h 1062038"/>
                  <a:gd name="connsiteX20" fmla="*/ 140470 w 845100"/>
                  <a:gd name="connsiteY20" fmla="*/ 497552 h 1062038"/>
                  <a:gd name="connsiteX21" fmla="*/ 166162 w 845100"/>
                  <a:gd name="connsiteY21" fmla="*/ 484707 h 1062038"/>
                  <a:gd name="connsiteX22" fmla="*/ 166876 w 845100"/>
                  <a:gd name="connsiteY22" fmla="*/ 437607 h 1062038"/>
                  <a:gd name="connsiteX23" fmla="*/ 213264 w 845100"/>
                  <a:gd name="connsiteY23" fmla="*/ 445457 h 1062038"/>
                  <a:gd name="connsiteX24" fmla="*/ 230392 w 845100"/>
                  <a:gd name="connsiteY24" fmla="*/ 422620 h 1062038"/>
                  <a:gd name="connsiteX25" fmla="*/ 249662 w 845100"/>
                  <a:gd name="connsiteY25" fmla="*/ 394075 h 1062038"/>
                  <a:gd name="connsiteX26" fmla="*/ 265362 w 845100"/>
                  <a:gd name="connsiteY26" fmla="*/ 363389 h 1062038"/>
                  <a:gd name="connsiteX27" fmla="*/ 276781 w 845100"/>
                  <a:gd name="connsiteY27" fmla="*/ 336984 h 1062038"/>
                  <a:gd name="connsiteX28" fmla="*/ 248948 w 845100"/>
                  <a:gd name="connsiteY28" fmla="*/ 302730 h 1062038"/>
                  <a:gd name="connsiteX29" fmla="*/ 249662 w 845100"/>
                  <a:gd name="connsiteY29" fmla="*/ 299161 h 1062038"/>
                  <a:gd name="connsiteX30" fmla="*/ 285345 w 845100"/>
                  <a:gd name="connsiteY30" fmla="*/ 277752 h 1062038"/>
                  <a:gd name="connsiteX31" fmla="*/ 306755 w 845100"/>
                  <a:gd name="connsiteY31" fmla="*/ 290598 h 1062038"/>
                  <a:gd name="connsiteX32" fmla="*/ 321742 w 845100"/>
                  <a:gd name="connsiteY32" fmla="*/ 297734 h 1062038"/>
                  <a:gd name="connsiteX33" fmla="*/ 344580 w 845100"/>
                  <a:gd name="connsiteY33" fmla="*/ 284175 h 1062038"/>
                  <a:gd name="connsiteX34" fmla="*/ 377409 w 845100"/>
                  <a:gd name="connsiteY34" fmla="*/ 288457 h 1062038"/>
                  <a:gd name="connsiteX35" fmla="*/ 398105 w 845100"/>
                  <a:gd name="connsiteY35" fmla="*/ 307011 h 1062038"/>
                  <a:gd name="connsiteX36" fmla="*/ 413806 w 845100"/>
                  <a:gd name="connsiteY36" fmla="*/ 302730 h 1062038"/>
                  <a:gd name="connsiteX37" fmla="*/ 444494 w 845100"/>
                  <a:gd name="connsiteY37" fmla="*/ 293452 h 1062038"/>
                  <a:gd name="connsiteX38" fmla="*/ 445921 w 845100"/>
                  <a:gd name="connsiteY38" fmla="*/ 292739 h 1062038"/>
                  <a:gd name="connsiteX39" fmla="*/ 447348 w 845100"/>
                  <a:gd name="connsiteY39" fmla="*/ 292025 h 1062038"/>
                  <a:gd name="connsiteX40" fmla="*/ 475181 w 845100"/>
                  <a:gd name="connsiteY40" fmla="*/ 276325 h 1062038"/>
                  <a:gd name="connsiteX41" fmla="*/ 489455 w 845100"/>
                  <a:gd name="connsiteY41" fmla="*/ 267048 h 1062038"/>
                  <a:gd name="connsiteX42" fmla="*/ 489455 w 845100"/>
                  <a:gd name="connsiteY42" fmla="*/ 239930 h 1062038"/>
                  <a:gd name="connsiteX43" fmla="*/ 509438 w 845100"/>
                  <a:gd name="connsiteY43" fmla="*/ 212098 h 1062038"/>
                  <a:gd name="connsiteX44" fmla="*/ 533702 w 845100"/>
                  <a:gd name="connsiteY44" fmla="*/ 204961 h 1062038"/>
                  <a:gd name="connsiteX45" fmla="*/ 538698 w 845100"/>
                  <a:gd name="connsiteY45" fmla="*/ 189975 h 1062038"/>
                  <a:gd name="connsiteX46" fmla="*/ 547262 w 845100"/>
                  <a:gd name="connsiteY46" fmla="*/ 142875 h 1062038"/>
                  <a:gd name="connsiteX47" fmla="*/ 378079 w 845100"/>
                  <a:gd name="connsiteY47" fmla="*/ 75928 h 1062038"/>
                  <a:gd name="connsiteX48" fmla="*/ 354109 w 845100"/>
                  <a:gd name="connsiteY48" fmla="*/ 80491 h 1062038"/>
                  <a:gd name="connsiteX49" fmla="*/ 318367 w 845100"/>
                  <a:gd name="connsiteY49" fmla="*/ 131564 h 1062038"/>
                  <a:gd name="connsiteX50" fmla="*/ 323371 w 845100"/>
                  <a:gd name="connsiteY50" fmla="*/ 161057 h 1062038"/>
                  <a:gd name="connsiteX51" fmla="*/ 324801 w 845100"/>
                  <a:gd name="connsiteY51" fmla="*/ 163215 h 1062038"/>
                  <a:gd name="connsiteX52" fmla="*/ 403433 w 845100"/>
                  <a:gd name="connsiteY52" fmla="*/ 192708 h 1062038"/>
                  <a:gd name="connsiteX53" fmla="*/ 438461 w 845100"/>
                  <a:gd name="connsiteY53" fmla="*/ 143793 h 1062038"/>
                  <a:gd name="connsiteX54" fmla="*/ 434172 w 845100"/>
                  <a:gd name="connsiteY54" fmla="*/ 112142 h 1062038"/>
                  <a:gd name="connsiteX55" fmla="*/ 378079 w 845100"/>
                  <a:gd name="connsiteY55" fmla="*/ 75928 h 1062038"/>
                  <a:gd name="connsiteX56" fmla="*/ 352278 w 845100"/>
                  <a:gd name="connsiteY56" fmla="*/ 0 h 1062038"/>
                  <a:gd name="connsiteX57" fmla="*/ 370895 w 845100"/>
                  <a:gd name="connsiteY57" fmla="*/ 15767 h 1062038"/>
                  <a:gd name="connsiteX58" fmla="*/ 414571 w 845100"/>
                  <a:gd name="connsiteY58" fmla="*/ 21500 h 1062038"/>
                  <a:gd name="connsiteX59" fmla="*/ 435336 w 845100"/>
                  <a:gd name="connsiteY59" fmla="*/ 10033 h 1062038"/>
                  <a:gd name="connsiteX60" fmla="*/ 481877 w 845100"/>
                  <a:gd name="connsiteY60" fmla="*/ 44433 h 1062038"/>
                  <a:gd name="connsiteX61" fmla="*/ 477581 w 845100"/>
                  <a:gd name="connsiteY61" fmla="*/ 66650 h 1062038"/>
                  <a:gd name="connsiteX62" fmla="*/ 489753 w 845100"/>
                  <a:gd name="connsiteY62" fmla="*/ 88150 h 1062038"/>
                  <a:gd name="connsiteX63" fmla="*/ 496913 w 845100"/>
                  <a:gd name="connsiteY63" fmla="*/ 109650 h 1062038"/>
                  <a:gd name="connsiteX64" fmla="*/ 498345 w 845100"/>
                  <a:gd name="connsiteY64" fmla="*/ 111083 h 1062038"/>
                  <a:gd name="connsiteX65" fmla="*/ 516245 w 845100"/>
                  <a:gd name="connsiteY65" fmla="*/ 121833 h 1062038"/>
                  <a:gd name="connsiteX66" fmla="*/ 516961 w 845100"/>
                  <a:gd name="connsiteY66" fmla="*/ 143333 h 1062038"/>
                  <a:gd name="connsiteX67" fmla="*/ 510517 w 845100"/>
                  <a:gd name="connsiteY67" fmla="*/ 179167 h 1062038"/>
                  <a:gd name="connsiteX68" fmla="*/ 489037 w 845100"/>
                  <a:gd name="connsiteY68" fmla="*/ 186333 h 1062038"/>
                  <a:gd name="connsiteX69" fmla="*/ 458964 w 845100"/>
                  <a:gd name="connsiteY69" fmla="*/ 227183 h 1062038"/>
                  <a:gd name="connsiteX70" fmla="*/ 458964 w 845100"/>
                  <a:gd name="connsiteY70" fmla="*/ 250117 h 1062038"/>
                  <a:gd name="connsiteX71" fmla="*/ 433904 w 845100"/>
                  <a:gd name="connsiteY71" fmla="*/ 264450 h 1062038"/>
                  <a:gd name="connsiteX72" fmla="*/ 407411 w 845100"/>
                  <a:gd name="connsiteY72" fmla="*/ 273050 h 1062038"/>
                  <a:gd name="connsiteX73" fmla="*/ 390227 w 845100"/>
                  <a:gd name="connsiteY73" fmla="*/ 257283 h 1062038"/>
                  <a:gd name="connsiteX74" fmla="*/ 340106 w 845100"/>
                  <a:gd name="connsiteY74" fmla="*/ 250833 h 1062038"/>
                  <a:gd name="connsiteX75" fmla="*/ 320058 w 845100"/>
                  <a:gd name="connsiteY75" fmla="*/ 262300 h 1062038"/>
                  <a:gd name="connsiteX76" fmla="*/ 274233 w 845100"/>
                  <a:gd name="connsiteY76" fmla="*/ 227183 h 1062038"/>
                  <a:gd name="connsiteX77" fmla="*/ 279961 w 845100"/>
                  <a:gd name="connsiteY77" fmla="*/ 204967 h 1062038"/>
                  <a:gd name="connsiteX78" fmla="*/ 269221 w 845100"/>
                  <a:gd name="connsiteY78" fmla="*/ 184183 h 1062038"/>
                  <a:gd name="connsiteX79" fmla="*/ 268505 w 845100"/>
                  <a:gd name="connsiteY79" fmla="*/ 182750 h 1062038"/>
                  <a:gd name="connsiteX80" fmla="*/ 261345 w 845100"/>
                  <a:gd name="connsiteY80" fmla="*/ 160533 h 1062038"/>
                  <a:gd name="connsiteX81" fmla="*/ 252036 w 845100"/>
                  <a:gd name="connsiteY81" fmla="*/ 154800 h 1062038"/>
                  <a:gd name="connsiteX82" fmla="*/ 241296 w 845100"/>
                  <a:gd name="connsiteY82" fmla="*/ 149067 h 1062038"/>
                  <a:gd name="connsiteX83" fmla="*/ 249172 w 845100"/>
                  <a:gd name="connsiteY83" fmla="*/ 89583 h 1062038"/>
                  <a:gd name="connsiteX84" fmla="*/ 271369 w 845100"/>
                  <a:gd name="connsiteY84" fmla="*/ 82417 h 1062038"/>
                  <a:gd name="connsiteX85" fmla="*/ 298577 w 845100"/>
                  <a:gd name="connsiteY85" fmla="*/ 47300 h 1062038"/>
                  <a:gd name="connsiteX86" fmla="*/ 298577 w 845100"/>
                  <a:gd name="connsiteY86" fmla="*/ 23650 h 1062038"/>
                  <a:gd name="connsiteX87" fmla="*/ 324354 w 845100"/>
                  <a:gd name="connsiteY87" fmla="*/ 9317 h 1062038"/>
                  <a:gd name="connsiteX88" fmla="*/ 352278 w 845100"/>
                  <a:gd name="connsiteY88" fmla="*/ 0 h 106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00" h="1062038">
                    <a:moveTo>
                      <a:pt x="547262" y="142875"/>
                    </a:moveTo>
                    <a:cubicBezTo>
                      <a:pt x="751372" y="152866"/>
                      <a:pt x="837726" y="244211"/>
                      <a:pt x="844149" y="297020"/>
                    </a:cubicBezTo>
                    <a:cubicBezTo>
                      <a:pt x="844149" y="297020"/>
                      <a:pt x="844149" y="297020"/>
                      <a:pt x="844863" y="304157"/>
                    </a:cubicBezTo>
                    <a:cubicBezTo>
                      <a:pt x="846290" y="329134"/>
                      <a:pt x="841295" y="353398"/>
                      <a:pt x="829876" y="376948"/>
                    </a:cubicBezTo>
                    <a:cubicBezTo>
                      <a:pt x="825594" y="386225"/>
                      <a:pt x="820598" y="394789"/>
                      <a:pt x="814889" y="404066"/>
                    </a:cubicBezTo>
                    <a:cubicBezTo>
                      <a:pt x="812748" y="408348"/>
                      <a:pt x="809893" y="412629"/>
                      <a:pt x="806325" y="416911"/>
                    </a:cubicBezTo>
                    <a:cubicBezTo>
                      <a:pt x="764218" y="480425"/>
                      <a:pt x="645749" y="590325"/>
                      <a:pt x="577950" y="638852"/>
                    </a:cubicBezTo>
                    <a:cubicBezTo>
                      <a:pt x="576523" y="638852"/>
                      <a:pt x="575095" y="639566"/>
                      <a:pt x="574382" y="639566"/>
                    </a:cubicBezTo>
                    <a:cubicBezTo>
                      <a:pt x="568672" y="639566"/>
                      <a:pt x="565104" y="633143"/>
                      <a:pt x="570100" y="628148"/>
                    </a:cubicBezTo>
                    <a:cubicBezTo>
                      <a:pt x="590796" y="606025"/>
                      <a:pt x="605070" y="587470"/>
                      <a:pt x="613634" y="572484"/>
                    </a:cubicBezTo>
                    <a:cubicBezTo>
                      <a:pt x="466617" y="657407"/>
                      <a:pt x="303187" y="710929"/>
                      <a:pt x="303187" y="710929"/>
                    </a:cubicBezTo>
                    <a:cubicBezTo>
                      <a:pt x="180435" y="870070"/>
                      <a:pt x="382404" y="1037775"/>
                      <a:pt x="341725" y="1061325"/>
                    </a:cubicBezTo>
                    <a:cubicBezTo>
                      <a:pt x="341011" y="1062038"/>
                      <a:pt x="340298" y="1062038"/>
                      <a:pt x="338870" y="1062038"/>
                    </a:cubicBezTo>
                    <a:cubicBezTo>
                      <a:pt x="334588" y="1062038"/>
                      <a:pt x="328879" y="1060611"/>
                      <a:pt x="321742" y="1057756"/>
                    </a:cubicBezTo>
                    <a:cubicBezTo>
                      <a:pt x="313178" y="1053475"/>
                      <a:pt x="302473" y="1048479"/>
                      <a:pt x="290341" y="1041343"/>
                    </a:cubicBezTo>
                    <a:cubicBezTo>
                      <a:pt x="184004" y="975688"/>
                      <a:pt x="-37948" y="768020"/>
                      <a:pt x="5586" y="505402"/>
                    </a:cubicBezTo>
                    <a:cubicBezTo>
                      <a:pt x="5586" y="505402"/>
                      <a:pt x="5586" y="505402"/>
                      <a:pt x="17005" y="492557"/>
                    </a:cubicBezTo>
                    <a:cubicBezTo>
                      <a:pt x="17005" y="492557"/>
                      <a:pt x="17005" y="492557"/>
                      <a:pt x="47693" y="528239"/>
                    </a:cubicBezTo>
                    <a:cubicBezTo>
                      <a:pt x="47693" y="528239"/>
                      <a:pt x="47693" y="528239"/>
                      <a:pt x="75526" y="521816"/>
                    </a:cubicBezTo>
                    <a:cubicBezTo>
                      <a:pt x="91227" y="518248"/>
                      <a:pt x="107641" y="511825"/>
                      <a:pt x="108355" y="511825"/>
                    </a:cubicBezTo>
                    <a:cubicBezTo>
                      <a:pt x="109782" y="511111"/>
                      <a:pt x="126197" y="505402"/>
                      <a:pt x="140470" y="497552"/>
                    </a:cubicBezTo>
                    <a:cubicBezTo>
                      <a:pt x="140470" y="497552"/>
                      <a:pt x="140470" y="497552"/>
                      <a:pt x="166162" y="484707"/>
                    </a:cubicBezTo>
                    <a:cubicBezTo>
                      <a:pt x="166162" y="484707"/>
                      <a:pt x="166162" y="484707"/>
                      <a:pt x="166876" y="437607"/>
                    </a:cubicBezTo>
                    <a:cubicBezTo>
                      <a:pt x="166876" y="437607"/>
                      <a:pt x="166876" y="437607"/>
                      <a:pt x="213264" y="445457"/>
                    </a:cubicBezTo>
                    <a:cubicBezTo>
                      <a:pt x="213264" y="445457"/>
                      <a:pt x="213264" y="445457"/>
                      <a:pt x="230392" y="422620"/>
                    </a:cubicBezTo>
                    <a:cubicBezTo>
                      <a:pt x="239670" y="411202"/>
                      <a:pt x="248234" y="396216"/>
                      <a:pt x="249662" y="394075"/>
                    </a:cubicBezTo>
                    <a:cubicBezTo>
                      <a:pt x="250375" y="392648"/>
                      <a:pt x="258939" y="377661"/>
                      <a:pt x="265362" y="363389"/>
                    </a:cubicBezTo>
                    <a:cubicBezTo>
                      <a:pt x="265362" y="363389"/>
                      <a:pt x="265362" y="363389"/>
                      <a:pt x="276781" y="336984"/>
                    </a:cubicBezTo>
                    <a:cubicBezTo>
                      <a:pt x="276781" y="336984"/>
                      <a:pt x="276781" y="336984"/>
                      <a:pt x="248948" y="302730"/>
                    </a:cubicBezTo>
                    <a:cubicBezTo>
                      <a:pt x="248948" y="301302"/>
                      <a:pt x="248948" y="299875"/>
                      <a:pt x="249662" y="299161"/>
                    </a:cubicBezTo>
                    <a:cubicBezTo>
                      <a:pt x="249662" y="299161"/>
                      <a:pt x="249662" y="299161"/>
                      <a:pt x="285345" y="277752"/>
                    </a:cubicBezTo>
                    <a:cubicBezTo>
                      <a:pt x="291768" y="282034"/>
                      <a:pt x="298905" y="286316"/>
                      <a:pt x="306755" y="290598"/>
                    </a:cubicBezTo>
                    <a:cubicBezTo>
                      <a:pt x="306755" y="290598"/>
                      <a:pt x="306755" y="290598"/>
                      <a:pt x="321742" y="297734"/>
                    </a:cubicBezTo>
                    <a:cubicBezTo>
                      <a:pt x="321742" y="297734"/>
                      <a:pt x="321742" y="297734"/>
                      <a:pt x="344580" y="284175"/>
                    </a:cubicBezTo>
                    <a:cubicBezTo>
                      <a:pt x="355285" y="287030"/>
                      <a:pt x="366704" y="288457"/>
                      <a:pt x="377409" y="288457"/>
                    </a:cubicBezTo>
                    <a:cubicBezTo>
                      <a:pt x="377409" y="288457"/>
                      <a:pt x="377409" y="288457"/>
                      <a:pt x="398105" y="307011"/>
                    </a:cubicBezTo>
                    <a:cubicBezTo>
                      <a:pt x="398105" y="307011"/>
                      <a:pt x="398105" y="307011"/>
                      <a:pt x="413806" y="302730"/>
                    </a:cubicBezTo>
                    <a:cubicBezTo>
                      <a:pt x="424511" y="300589"/>
                      <a:pt x="435216" y="297020"/>
                      <a:pt x="444494" y="293452"/>
                    </a:cubicBezTo>
                    <a:cubicBezTo>
                      <a:pt x="444494" y="293452"/>
                      <a:pt x="444494" y="293452"/>
                      <a:pt x="445921" y="292739"/>
                    </a:cubicBezTo>
                    <a:cubicBezTo>
                      <a:pt x="445921" y="292739"/>
                      <a:pt x="445921" y="292739"/>
                      <a:pt x="447348" y="292025"/>
                    </a:cubicBezTo>
                    <a:cubicBezTo>
                      <a:pt x="456626" y="287743"/>
                      <a:pt x="465904" y="282748"/>
                      <a:pt x="475181" y="276325"/>
                    </a:cubicBezTo>
                    <a:cubicBezTo>
                      <a:pt x="475181" y="276325"/>
                      <a:pt x="475181" y="276325"/>
                      <a:pt x="489455" y="267048"/>
                    </a:cubicBezTo>
                    <a:cubicBezTo>
                      <a:pt x="489455" y="267048"/>
                      <a:pt x="489455" y="267048"/>
                      <a:pt x="489455" y="239930"/>
                    </a:cubicBezTo>
                    <a:cubicBezTo>
                      <a:pt x="497305" y="231366"/>
                      <a:pt x="503728" y="222089"/>
                      <a:pt x="509438" y="212098"/>
                    </a:cubicBezTo>
                    <a:cubicBezTo>
                      <a:pt x="509438" y="212098"/>
                      <a:pt x="509438" y="212098"/>
                      <a:pt x="533702" y="204961"/>
                    </a:cubicBezTo>
                    <a:cubicBezTo>
                      <a:pt x="533702" y="204961"/>
                      <a:pt x="533702" y="204961"/>
                      <a:pt x="538698" y="189975"/>
                    </a:cubicBezTo>
                    <a:cubicBezTo>
                      <a:pt x="543694" y="174989"/>
                      <a:pt x="546549" y="159289"/>
                      <a:pt x="547262" y="142875"/>
                    </a:cubicBezTo>
                    <a:close/>
                    <a:moveTo>
                      <a:pt x="378079" y="75928"/>
                    </a:moveTo>
                    <a:cubicBezTo>
                      <a:pt x="370104" y="75950"/>
                      <a:pt x="361973" y="77434"/>
                      <a:pt x="354109" y="80491"/>
                    </a:cubicBezTo>
                    <a:cubicBezTo>
                      <a:pt x="333379" y="89842"/>
                      <a:pt x="320512" y="109984"/>
                      <a:pt x="318367" y="131564"/>
                    </a:cubicBezTo>
                    <a:cubicBezTo>
                      <a:pt x="317652" y="141635"/>
                      <a:pt x="319082" y="150986"/>
                      <a:pt x="323371" y="161057"/>
                    </a:cubicBezTo>
                    <a:cubicBezTo>
                      <a:pt x="324086" y="161776"/>
                      <a:pt x="324086" y="162495"/>
                      <a:pt x="324801" y="163215"/>
                    </a:cubicBezTo>
                    <a:cubicBezTo>
                      <a:pt x="338383" y="192708"/>
                      <a:pt x="373410" y="206375"/>
                      <a:pt x="403433" y="192708"/>
                    </a:cubicBezTo>
                    <a:cubicBezTo>
                      <a:pt x="423449" y="184076"/>
                      <a:pt x="436316" y="164653"/>
                      <a:pt x="438461" y="143793"/>
                    </a:cubicBezTo>
                    <a:cubicBezTo>
                      <a:pt x="439890" y="133722"/>
                      <a:pt x="438461" y="122932"/>
                      <a:pt x="434172" y="112142"/>
                    </a:cubicBezTo>
                    <a:cubicBezTo>
                      <a:pt x="424521" y="88943"/>
                      <a:pt x="402004" y="75860"/>
                      <a:pt x="378079" y="75928"/>
                    </a:cubicBezTo>
                    <a:close/>
                    <a:moveTo>
                      <a:pt x="352278" y="0"/>
                    </a:moveTo>
                    <a:cubicBezTo>
                      <a:pt x="352278" y="0"/>
                      <a:pt x="352278" y="0"/>
                      <a:pt x="370895" y="15767"/>
                    </a:cubicBezTo>
                    <a:cubicBezTo>
                      <a:pt x="385931" y="15050"/>
                      <a:pt x="400251" y="16483"/>
                      <a:pt x="414571" y="21500"/>
                    </a:cubicBezTo>
                    <a:cubicBezTo>
                      <a:pt x="414571" y="21500"/>
                      <a:pt x="414571" y="21500"/>
                      <a:pt x="435336" y="10033"/>
                    </a:cubicBezTo>
                    <a:cubicBezTo>
                      <a:pt x="452520" y="17200"/>
                      <a:pt x="468988" y="29383"/>
                      <a:pt x="481877" y="44433"/>
                    </a:cubicBezTo>
                    <a:cubicBezTo>
                      <a:pt x="481877" y="44433"/>
                      <a:pt x="481877" y="44433"/>
                      <a:pt x="477581" y="66650"/>
                    </a:cubicBezTo>
                    <a:cubicBezTo>
                      <a:pt x="481877" y="73100"/>
                      <a:pt x="486173" y="80267"/>
                      <a:pt x="489753" y="88150"/>
                    </a:cubicBezTo>
                    <a:cubicBezTo>
                      <a:pt x="492617" y="95317"/>
                      <a:pt x="494765" y="102483"/>
                      <a:pt x="496913" y="109650"/>
                    </a:cubicBezTo>
                    <a:cubicBezTo>
                      <a:pt x="496913" y="109650"/>
                      <a:pt x="496913" y="109650"/>
                      <a:pt x="498345" y="111083"/>
                    </a:cubicBezTo>
                    <a:cubicBezTo>
                      <a:pt x="500493" y="111800"/>
                      <a:pt x="504789" y="114667"/>
                      <a:pt x="516245" y="121833"/>
                    </a:cubicBezTo>
                    <a:cubicBezTo>
                      <a:pt x="516961" y="129000"/>
                      <a:pt x="517677" y="136167"/>
                      <a:pt x="516961" y="143333"/>
                    </a:cubicBezTo>
                    <a:cubicBezTo>
                      <a:pt x="516245" y="155517"/>
                      <a:pt x="514097" y="167700"/>
                      <a:pt x="510517" y="179167"/>
                    </a:cubicBezTo>
                    <a:cubicBezTo>
                      <a:pt x="510517" y="179167"/>
                      <a:pt x="510517" y="179167"/>
                      <a:pt x="489037" y="186333"/>
                    </a:cubicBezTo>
                    <a:cubicBezTo>
                      <a:pt x="481877" y="201383"/>
                      <a:pt x="471852" y="215717"/>
                      <a:pt x="458964" y="227183"/>
                    </a:cubicBezTo>
                    <a:cubicBezTo>
                      <a:pt x="458964" y="227183"/>
                      <a:pt x="458964" y="227183"/>
                      <a:pt x="458964" y="250117"/>
                    </a:cubicBezTo>
                    <a:cubicBezTo>
                      <a:pt x="451088" y="255133"/>
                      <a:pt x="442496" y="260150"/>
                      <a:pt x="433904" y="264450"/>
                    </a:cubicBezTo>
                    <a:cubicBezTo>
                      <a:pt x="425312" y="268033"/>
                      <a:pt x="416003" y="270900"/>
                      <a:pt x="407411" y="273050"/>
                    </a:cubicBezTo>
                    <a:cubicBezTo>
                      <a:pt x="407411" y="273050"/>
                      <a:pt x="407411" y="273050"/>
                      <a:pt x="390227" y="257283"/>
                    </a:cubicBezTo>
                    <a:cubicBezTo>
                      <a:pt x="373043" y="258717"/>
                      <a:pt x="355858" y="256567"/>
                      <a:pt x="340106" y="250833"/>
                    </a:cubicBezTo>
                    <a:cubicBezTo>
                      <a:pt x="340106" y="250833"/>
                      <a:pt x="340106" y="250833"/>
                      <a:pt x="320058" y="262300"/>
                    </a:cubicBezTo>
                    <a:cubicBezTo>
                      <a:pt x="302873" y="253700"/>
                      <a:pt x="287837" y="242233"/>
                      <a:pt x="274233" y="227183"/>
                    </a:cubicBezTo>
                    <a:cubicBezTo>
                      <a:pt x="274233" y="227183"/>
                      <a:pt x="274233" y="227183"/>
                      <a:pt x="279961" y="204967"/>
                    </a:cubicBezTo>
                    <a:cubicBezTo>
                      <a:pt x="275665" y="198517"/>
                      <a:pt x="272085" y="191350"/>
                      <a:pt x="269221" y="184183"/>
                    </a:cubicBezTo>
                    <a:cubicBezTo>
                      <a:pt x="268505" y="183467"/>
                      <a:pt x="268505" y="182750"/>
                      <a:pt x="268505" y="182750"/>
                    </a:cubicBezTo>
                    <a:cubicBezTo>
                      <a:pt x="264925" y="175583"/>
                      <a:pt x="262777" y="167700"/>
                      <a:pt x="261345" y="160533"/>
                    </a:cubicBezTo>
                    <a:cubicBezTo>
                      <a:pt x="261345" y="160533"/>
                      <a:pt x="261345" y="160533"/>
                      <a:pt x="252036" y="154800"/>
                    </a:cubicBezTo>
                    <a:cubicBezTo>
                      <a:pt x="249888" y="153367"/>
                      <a:pt x="246308" y="151217"/>
                      <a:pt x="241296" y="149067"/>
                    </a:cubicBezTo>
                    <a:cubicBezTo>
                      <a:pt x="239864" y="128283"/>
                      <a:pt x="242728" y="108217"/>
                      <a:pt x="249172" y="89583"/>
                    </a:cubicBezTo>
                    <a:cubicBezTo>
                      <a:pt x="249172" y="89583"/>
                      <a:pt x="249172" y="89583"/>
                      <a:pt x="271369" y="82417"/>
                    </a:cubicBezTo>
                    <a:cubicBezTo>
                      <a:pt x="277813" y="68800"/>
                      <a:pt x="287121" y="58050"/>
                      <a:pt x="298577" y="47300"/>
                    </a:cubicBezTo>
                    <a:cubicBezTo>
                      <a:pt x="298577" y="47300"/>
                      <a:pt x="298577" y="47300"/>
                      <a:pt x="298577" y="23650"/>
                    </a:cubicBezTo>
                    <a:cubicBezTo>
                      <a:pt x="306453" y="17917"/>
                      <a:pt x="315046" y="12900"/>
                      <a:pt x="324354" y="9317"/>
                    </a:cubicBezTo>
                    <a:cubicBezTo>
                      <a:pt x="333662" y="5017"/>
                      <a:pt x="343686" y="2150"/>
                      <a:pt x="35227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5" name="Freeform 11">
                <a:extLst>
                  <a:ext uri="{FF2B5EF4-FFF2-40B4-BE49-F238E27FC236}">
                    <a16:creationId xmlns:a16="http://schemas.microsoft.com/office/drawing/2014/main" id="{1F385928-B586-45AB-84B3-CC30869BB279}"/>
                  </a:ext>
                </a:extLst>
              </p:cNvPr>
              <p:cNvSpPr>
                <a:spLocks/>
              </p:cNvSpPr>
              <p:nvPr/>
            </p:nvSpPr>
            <p:spPr bwMode="auto">
              <a:xfrm>
                <a:off x="5532438" y="2862263"/>
                <a:ext cx="1161676" cy="1216025"/>
              </a:xfrm>
              <a:custGeom>
                <a:avLst/>
                <a:gdLst>
                  <a:gd name="connsiteX0" fmla="*/ 1057885 w 1161676"/>
                  <a:gd name="connsiteY0" fmla="*/ 401637 h 1216025"/>
                  <a:gd name="connsiteX1" fmla="*/ 1065015 w 1161676"/>
                  <a:gd name="connsiteY1" fmla="*/ 447317 h 1216025"/>
                  <a:gd name="connsiteX2" fmla="*/ 1066441 w 1161676"/>
                  <a:gd name="connsiteY2" fmla="*/ 490856 h 1216025"/>
                  <a:gd name="connsiteX3" fmla="*/ 1072145 w 1161676"/>
                  <a:gd name="connsiteY3" fmla="*/ 561517 h 1216025"/>
                  <a:gd name="connsiteX4" fmla="*/ 1120629 w 1161676"/>
                  <a:gd name="connsiteY4" fmla="*/ 638602 h 1216025"/>
                  <a:gd name="connsiteX5" fmla="*/ 1159844 w 1161676"/>
                  <a:gd name="connsiteY5" fmla="*/ 721397 h 1216025"/>
                  <a:gd name="connsiteX6" fmla="*/ 1057172 w 1161676"/>
                  <a:gd name="connsiteY6" fmla="*/ 765649 h 1216025"/>
                  <a:gd name="connsiteX7" fmla="*/ 1060024 w 1161676"/>
                  <a:gd name="connsiteY7" fmla="*/ 850585 h 1216025"/>
                  <a:gd name="connsiteX8" fmla="*/ 1038634 w 1161676"/>
                  <a:gd name="connsiteY8" fmla="*/ 984770 h 1216025"/>
                  <a:gd name="connsiteX9" fmla="*/ 908868 w 1161676"/>
                  <a:gd name="connsiteY9" fmla="*/ 1007610 h 1216025"/>
                  <a:gd name="connsiteX10" fmla="*/ 824734 w 1161676"/>
                  <a:gd name="connsiteY10" fmla="*/ 1004042 h 1216025"/>
                  <a:gd name="connsiteX11" fmla="*/ 824734 w 1161676"/>
                  <a:gd name="connsiteY11" fmla="*/ 1199609 h 1216025"/>
                  <a:gd name="connsiteX12" fmla="*/ 809761 w 1161676"/>
                  <a:gd name="connsiteY12" fmla="*/ 1215311 h 1216025"/>
                  <a:gd name="connsiteX13" fmla="*/ 785519 w 1161676"/>
                  <a:gd name="connsiteY13" fmla="*/ 1216025 h 1216025"/>
                  <a:gd name="connsiteX14" fmla="*/ 516717 w 1161676"/>
                  <a:gd name="connsiteY14" fmla="*/ 1150360 h 1216025"/>
                  <a:gd name="connsiteX15" fmla="*/ 509587 w 1161676"/>
                  <a:gd name="connsiteY15" fmla="*/ 1136799 h 1216025"/>
                  <a:gd name="connsiteX16" fmla="*/ 509587 w 1161676"/>
                  <a:gd name="connsiteY16" fmla="*/ 1055432 h 1216025"/>
                  <a:gd name="connsiteX17" fmla="*/ 540959 w 1161676"/>
                  <a:gd name="connsiteY17" fmla="*/ 1068993 h 1216025"/>
                  <a:gd name="connsiteX18" fmla="*/ 540959 w 1161676"/>
                  <a:gd name="connsiteY18" fmla="*/ 1127520 h 1216025"/>
                  <a:gd name="connsiteX19" fmla="*/ 793362 w 1161676"/>
                  <a:gd name="connsiteY19" fmla="*/ 1184620 h 1216025"/>
                  <a:gd name="connsiteX20" fmla="*/ 793362 w 1161676"/>
                  <a:gd name="connsiteY20" fmla="*/ 986198 h 1216025"/>
                  <a:gd name="connsiteX21" fmla="*/ 800492 w 1161676"/>
                  <a:gd name="connsiteY21" fmla="*/ 973350 h 1216025"/>
                  <a:gd name="connsiteX22" fmla="*/ 813326 w 1161676"/>
                  <a:gd name="connsiteY22" fmla="*/ 971209 h 1216025"/>
                  <a:gd name="connsiteX23" fmla="*/ 913146 w 1161676"/>
                  <a:gd name="connsiteY23" fmla="*/ 976205 h 1216025"/>
                  <a:gd name="connsiteX24" fmla="*/ 916711 w 1161676"/>
                  <a:gd name="connsiteY24" fmla="*/ 976205 h 1216025"/>
                  <a:gd name="connsiteX25" fmla="*/ 1015818 w 1161676"/>
                  <a:gd name="connsiteY25" fmla="*/ 963358 h 1216025"/>
                  <a:gd name="connsiteX26" fmla="*/ 1029365 w 1161676"/>
                  <a:gd name="connsiteY26" fmla="*/ 850585 h 1216025"/>
                  <a:gd name="connsiteX27" fmla="*/ 1025800 w 1161676"/>
                  <a:gd name="connsiteY27" fmla="*/ 749947 h 1216025"/>
                  <a:gd name="connsiteX28" fmla="*/ 1030078 w 1161676"/>
                  <a:gd name="connsiteY28" fmla="*/ 737099 h 1216025"/>
                  <a:gd name="connsiteX29" fmla="*/ 1042912 w 1161676"/>
                  <a:gd name="connsiteY29" fmla="*/ 732817 h 1216025"/>
                  <a:gd name="connsiteX30" fmla="*/ 1130611 w 1161676"/>
                  <a:gd name="connsiteY30" fmla="*/ 709977 h 1216025"/>
                  <a:gd name="connsiteX31" fmla="*/ 1098526 w 1161676"/>
                  <a:gd name="connsiteY31" fmla="*/ 661442 h 1216025"/>
                  <a:gd name="connsiteX32" fmla="*/ 1042912 w 1161676"/>
                  <a:gd name="connsiteY32" fmla="*/ 572937 h 1216025"/>
                  <a:gd name="connsiteX33" fmla="*/ 1035782 w 1161676"/>
                  <a:gd name="connsiteY33" fmla="*/ 491570 h 1216025"/>
                  <a:gd name="connsiteX34" fmla="*/ 1034356 w 1161676"/>
                  <a:gd name="connsiteY34" fmla="*/ 450172 h 1216025"/>
                  <a:gd name="connsiteX35" fmla="*/ 1032930 w 1161676"/>
                  <a:gd name="connsiteY35" fmla="*/ 438038 h 1216025"/>
                  <a:gd name="connsiteX36" fmla="*/ 1057885 w 1161676"/>
                  <a:gd name="connsiteY36" fmla="*/ 401637 h 1216025"/>
                  <a:gd name="connsiteX37" fmla="*/ 236180 w 1161676"/>
                  <a:gd name="connsiteY37" fmla="*/ 125412 h 1216025"/>
                  <a:gd name="connsiteX38" fmla="*/ 344804 w 1161676"/>
                  <a:gd name="connsiteY38" fmla="*/ 212318 h 1216025"/>
                  <a:gd name="connsiteX39" fmla="*/ 347662 w 1161676"/>
                  <a:gd name="connsiteY39" fmla="*/ 236537 h 1216025"/>
                  <a:gd name="connsiteX40" fmla="*/ 346233 w 1161676"/>
                  <a:gd name="connsiteY40" fmla="*/ 255058 h 1216025"/>
                  <a:gd name="connsiteX41" fmla="*/ 282631 w 1161676"/>
                  <a:gd name="connsiteY41" fmla="*/ 337689 h 1216025"/>
                  <a:gd name="connsiteX42" fmla="*/ 241897 w 1161676"/>
                  <a:gd name="connsiteY42" fmla="*/ 347662 h 1216025"/>
                  <a:gd name="connsiteX43" fmla="*/ 236180 w 1161676"/>
                  <a:gd name="connsiteY43" fmla="*/ 347662 h 1216025"/>
                  <a:gd name="connsiteX44" fmla="*/ 125412 w 1161676"/>
                  <a:gd name="connsiteY44" fmla="*/ 236537 h 1216025"/>
                  <a:gd name="connsiteX45" fmla="*/ 236180 w 1161676"/>
                  <a:gd name="connsiteY45" fmla="*/ 125412 h 1216025"/>
                  <a:gd name="connsiteX46" fmla="*/ 236538 w 1161676"/>
                  <a:gd name="connsiteY46" fmla="*/ 30162 h 1216025"/>
                  <a:gd name="connsiteX47" fmla="*/ 218699 w 1161676"/>
                  <a:gd name="connsiteY47" fmla="*/ 30876 h 1216025"/>
                  <a:gd name="connsiteX48" fmla="*/ 202288 w 1161676"/>
                  <a:gd name="connsiteY48" fmla="*/ 74445 h 1216025"/>
                  <a:gd name="connsiteX49" fmla="*/ 195152 w 1161676"/>
                  <a:gd name="connsiteY49" fmla="*/ 76587 h 1216025"/>
                  <a:gd name="connsiteX50" fmla="*/ 165897 w 1161676"/>
                  <a:gd name="connsiteY50" fmla="*/ 86587 h 1216025"/>
                  <a:gd name="connsiteX51" fmla="*/ 158761 w 1161676"/>
                  <a:gd name="connsiteY51" fmla="*/ 89444 h 1216025"/>
                  <a:gd name="connsiteX52" fmla="*/ 119516 w 1161676"/>
                  <a:gd name="connsiteY52" fmla="*/ 67302 h 1216025"/>
                  <a:gd name="connsiteX53" fmla="*/ 105245 w 1161676"/>
                  <a:gd name="connsiteY53" fmla="*/ 78730 h 1216025"/>
                  <a:gd name="connsiteX54" fmla="*/ 91688 w 1161676"/>
                  <a:gd name="connsiteY54" fmla="*/ 90872 h 1216025"/>
                  <a:gd name="connsiteX55" fmla="*/ 105245 w 1161676"/>
                  <a:gd name="connsiteY55" fmla="*/ 130155 h 1216025"/>
                  <a:gd name="connsiteX56" fmla="*/ 100251 w 1161676"/>
                  <a:gd name="connsiteY56" fmla="*/ 136583 h 1216025"/>
                  <a:gd name="connsiteX57" fmla="*/ 80271 w 1161676"/>
                  <a:gd name="connsiteY57" fmla="*/ 169438 h 1216025"/>
                  <a:gd name="connsiteX58" fmla="*/ 76704 w 1161676"/>
                  <a:gd name="connsiteY58" fmla="*/ 176580 h 1216025"/>
                  <a:gd name="connsiteX59" fmla="*/ 38172 w 1161676"/>
                  <a:gd name="connsiteY59" fmla="*/ 183723 h 1216025"/>
                  <a:gd name="connsiteX60" fmla="*/ 34604 w 1161676"/>
                  <a:gd name="connsiteY60" fmla="*/ 201579 h 1216025"/>
                  <a:gd name="connsiteX61" fmla="*/ 31750 w 1161676"/>
                  <a:gd name="connsiteY61" fmla="*/ 219435 h 1216025"/>
                  <a:gd name="connsiteX62" fmla="*/ 64573 w 1161676"/>
                  <a:gd name="connsiteY62" fmla="*/ 238005 h 1216025"/>
                  <a:gd name="connsiteX63" fmla="*/ 64573 w 1161676"/>
                  <a:gd name="connsiteY63" fmla="*/ 246575 h 1216025"/>
                  <a:gd name="connsiteX64" fmla="*/ 71709 w 1161676"/>
                  <a:gd name="connsiteY64" fmla="*/ 286573 h 1216025"/>
                  <a:gd name="connsiteX65" fmla="*/ 74563 w 1161676"/>
                  <a:gd name="connsiteY65" fmla="*/ 294429 h 1216025"/>
                  <a:gd name="connsiteX66" fmla="*/ 50302 w 1161676"/>
                  <a:gd name="connsiteY66" fmla="*/ 324427 h 1216025"/>
                  <a:gd name="connsiteX67" fmla="*/ 58865 w 1161676"/>
                  <a:gd name="connsiteY67" fmla="*/ 340140 h 1216025"/>
                  <a:gd name="connsiteX68" fmla="*/ 68141 w 1161676"/>
                  <a:gd name="connsiteY68" fmla="*/ 355139 h 1216025"/>
                  <a:gd name="connsiteX69" fmla="*/ 108100 w 1161676"/>
                  <a:gd name="connsiteY69" fmla="*/ 348711 h 1216025"/>
                  <a:gd name="connsiteX70" fmla="*/ 113808 w 1161676"/>
                  <a:gd name="connsiteY70" fmla="*/ 354425 h 1216025"/>
                  <a:gd name="connsiteX71" fmla="*/ 142350 w 1161676"/>
                  <a:gd name="connsiteY71" fmla="*/ 376566 h 1216025"/>
                  <a:gd name="connsiteX72" fmla="*/ 149485 w 1161676"/>
                  <a:gd name="connsiteY72" fmla="*/ 381566 h 1216025"/>
                  <a:gd name="connsiteX73" fmla="*/ 150199 w 1161676"/>
                  <a:gd name="connsiteY73" fmla="*/ 423706 h 1216025"/>
                  <a:gd name="connsiteX74" fmla="*/ 166610 w 1161676"/>
                  <a:gd name="connsiteY74" fmla="*/ 430848 h 1216025"/>
                  <a:gd name="connsiteX75" fmla="*/ 183735 w 1161676"/>
                  <a:gd name="connsiteY75" fmla="*/ 436562 h 1216025"/>
                  <a:gd name="connsiteX76" fmla="*/ 212277 w 1161676"/>
                  <a:gd name="connsiteY76" fmla="*/ 402279 h 1216025"/>
                  <a:gd name="connsiteX77" fmla="*/ 218699 w 1161676"/>
                  <a:gd name="connsiteY77" fmla="*/ 402993 h 1216025"/>
                  <a:gd name="connsiteX78" fmla="*/ 220126 w 1161676"/>
                  <a:gd name="connsiteY78" fmla="*/ 402993 h 1216025"/>
                  <a:gd name="connsiteX79" fmla="*/ 252236 w 1161676"/>
                  <a:gd name="connsiteY79" fmla="*/ 402993 h 1216025"/>
                  <a:gd name="connsiteX80" fmla="*/ 252949 w 1161676"/>
                  <a:gd name="connsiteY80" fmla="*/ 402993 h 1216025"/>
                  <a:gd name="connsiteX81" fmla="*/ 260798 w 1161676"/>
                  <a:gd name="connsiteY81" fmla="*/ 402279 h 1216025"/>
                  <a:gd name="connsiteX82" fmla="*/ 289340 w 1161676"/>
                  <a:gd name="connsiteY82" fmla="*/ 436562 h 1216025"/>
                  <a:gd name="connsiteX83" fmla="*/ 306465 w 1161676"/>
                  <a:gd name="connsiteY83" fmla="*/ 430848 h 1216025"/>
                  <a:gd name="connsiteX84" fmla="*/ 323590 w 1161676"/>
                  <a:gd name="connsiteY84" fmla="*/ 423706 h 1216025"/>
                  <a:gd name="connsiteX85" fmla="*/ 323590 w 1161676"/>
                  <a:gd name="connsiteY85" fmla="*/ 381566 h 1216025"/>
                  <a:gd name="connsiteX86" fmla="*/ 331439 w 1161676"/>
                  <a:gd name="connsiteY86" fmla="*/ 377281 h 1216025"/>
                  <a:gd name="connsiteX87" fmla="*/ 359981 w 1161676"/>
                  <a:gd name="connsiteY87" fmla="*/ 354425 h 1216025"/>
                  <a:gd name="connsiteX88" fmla="*/ 365689 w 1161676"/>
                  <a:gd name="connsiteY88" fmla="*/ 348711 h 1216025"/>
                  <a:gd name="connsiteX89" fmla="*/ 404934 w 1161676"/>
                  <a:gd name="connsiteY89" fmla="*/ 355854 h 1216025"/>
                  <a:gd name="connsiteX90" fmla="*/ 414924 w 1161676"/>
                  <a:gd name="connsiteY90" fmla="*/ 340140 h 1216025"/>
                  <a:gd name="connsiteX91" fmla="*/ 422773 w 1161676"/>
                  <a:gd name="connsiteY91" fmla="*/ 324427 h 1216025"/>
                  <a:gd name="connsiteX92" fmla="*/ 399226 w 1161676"/>
                  <a:gd name="connsiteY92" fmla="*/ 295144 h 1216025"/>
                  <a:gd name="connsiteX93" fmla="*/ 402080 w 1161676"/>
                  <a:gd name="connsiteY93" fmla="*/ 287287 h 1216025"/>
                  <a:gd name="connsiteX94" fmla="*/ 409216 w 1161676"/>
                  <a:gd name="connsiteY94" fmla="*/ 246575 h 1216025"/>
                  <a:gd name="connsiteX95" fmla="*/ 409929 w 1161676"/>
                  <a:gd name="connsiteY95" fmla="*/ 238005 h 1216025"/>
                  <a:gd name="connsiteX96" fmla="*/ 441325 w 1161676"/>
                  <a:gd name="connsiteY96" fmla="*/ 219435 h 1216025"/>
                  <a:gd name="connsiteX97" fmla="*/ 439185 w 1161676"/>
                  <a:gd name="connsiteY97" fmla="*/ 201579 h 1216025"/>
                  <a:gd name="connsiteX98" fmla="*/ 436330 w 1161676"/>
                  <a:gd name="connsiteY98" fmla="*/ 186580 h 1216025"/>
                  <a:gd name="connsiteX99" fmla="*/ 435617 w 1161676"/>
                  <a:gd name="connsiteY99" fmla="*/ 183723 h 1216025"/>
                  <a:gd name="connsiteX100" fmla="*/ 397085 w 1161676"/>
                  <a:gd name="connsiteY100" fmla="*/ 176580 h 1216025"/>
                  <a:gd name="connsiteX101" fmla="*/ 396372 w 1161676"/>
                  <a:gd name="connsiteY101" fmla="*/ 174438 h 1216025"/>
                  <a:gd name="connsiteX102" fmla="*/ 394231 w 1161676"/>
                  <a:gd name="connsiteY102" fmla="*/ 169438 h 1216025"/>
                  <a:gd name="connsiteX103" fmla="*/ 374252 w 1161676"/>
                  <a:gd name="connsiteY103" fmla="*/ 136583 h 1216025"/>
                  <a:gd name="connsiteX104" fmla="*/ 368544 w 1161676"/>
                  <a:gd name="connsiteY104" fmla="*/ 130155 h 1216025"/>
                  <a:gd name="connsiteX105" fmla="*/ 382101 w 1161676"/>
                  <a:gd name="connsiteY105" fmla="*/ 90872 h 1216025"/>
                  <a:gd name="connsiteX106" fmla="*/ 368544 w 1161676"/>
                  <a:gd name="connsiteY106" fmla="*/ 78730 h 1216025"/>
                  <a:gd name="connsiteX107" fmla="*/ 354986 w 1161676"/>
                  <a:gd name="connsiteY107" fmla="*/ 67302 h 1216025"/>
                  <a:gd name="connsiteX108" fmla="*/ 315741 w 1161676"/>
                  <a:gd name="connsiteY108" fmla="*/ 89444 h 1216025"/>
                  <a:gd name="connsiteX109" fmla="*/ 308606 w 1161676"/>
                  <a:gd name="connsiteY109" fmla="*/ 86587 h 1216025"/>
                  <a:gd name="connsiteX110" fmla="*/ 279350 w 1161676"/>
                  <a:gd name="connsiteY110" fmla="*/ 76587 h 1216025"/>
                  <a:gd name="connsiteX111" fmla="*/ 270788 w 1161676"/>
                  <a:gd name="connsiteY111" fmla="*/ 74445 h 1216025"/>
                  <a:gd name="connsiteX112" fmla="*/ 254376 w 1161676"/>
                  <a:gd name="connsiteY112" fmla="*/ 30876 h 1216025"/>
                  <a:gd name="connsiteX113" fmla="*/ 236538 w 1161676"/>
                  <a:gd name="connsiteY113" fmla="*/ 30162 h 1216025"/>
                  <a:gd name="connsiteX114" fmla="*/ 236975 w 1161676"/>
                  <a:gd name="connsiteY114" fmla="*/ 0 h 1216025"/>
                  <a:gd name="connsiteX115" fmla="*/ 268381 w 1161676"/>
                  <a:gd name="connsiteY115" fmla="*/ 2137 h 1216025"/>
                  <a:gd name="connsiteX116" fmla="*/ 277660 w 1161676"/>
                  <a:gd name="connsiteY116" fmla="*/ 2849 h 1216025"/>
                  <a:gd name="connsiteX117" fmla="*/ 294791 w 1161676"/>
                  <a:gd name="connsiteY117" fmla="*/ 49143 h 1216025"/>
                  <a:gd name="connsiteX118" fmla="*/ 314063 w 1161676"/>
                  <a:gd name="connsiteY118" fmla="*/ 55553 h 1216025"/>
                  <a:gd name="connsiteX119" fmla="*/ 356890 w 1161676"/>
                  <a:gd name="connsiteY119" fmla="*/ 32050 h 1216025"/>
                  <a:gd name="connsiteX120" fmla="*/ 364741 w 1161676"/>
                  <a:gd name="connsiteY120" fmla="*/ 37035 h 1216025"/>
                  <a:gd name="connsiteX121" fmla="*/ 389724 w 1161676"/>
                  <a:gd name="connsiteY121" fmla="*/ 55553 h 1216025"/>
                  <a:gd name="connsiteX122" fmla="*/ 412564 w 1161676"/>
                  <a:gd name="connsiteY122" fmla="*/ 76920 h 1216025"/>
                  <a:gd name="connsiteX123" fmla="*/ 418988 w 1161676"/>
                  <a:gd name="connsiteY123" fmla="*/ 84042 h 1216025"/>
                  <a:gd name="connsiteX124" fmla="*/ 403999 w 1161676"/>
                  <a:gd name="connsiteY124" fmla="*/ 125350 h 1216025"/>
                  <a:gd name="connsiteX125" fmla="*/ 418988 w 1161676"/>
                  <a:gd name="connsiteY125" fmla="*/ 149566 h 1216025"/>
                  <a:gd name="connsiteX126" fmla="*/ 433978 w 1161676"/>
                  <a:gd name="connsiteY126" fmla="*/ 152415 h 1216025"/>
                  <a:gd name="connsiteX127" fmla="*/ 461101 w 1161676"/>
                  <a:gd name="connsiteY127" fmla="*/ 157400 h 1216025"/>
                  <a:gd name="connsiteX128" fmla="*/ 463243 w 1161676"/>
                  <a:gd name="connsiteY128" fmla="*/ 166659 h 1216025"/>
                  <a:gd name="connsiteX129" fmla="*/ 464670 w 1161676"/>
                  <a:gd name="connsiteY129" fmla="*/ 171645 h 1216025"/>
                  <a:gd name="connsiteX130" fmla="*/ 470381 w 1161676"/>
                  <a:gd name="connsiteY130" fmla="*/ 196572 h 1216025"/>
                  <a:gd name="connsiteX131" fmla="*/ 474663 w 1161676"/>
                  <a:gd name="connsiteY131" fmla="*/ 227910 h 1216025"/>
                  <a:gd name="connsiteX132" fmla="*/ 474663 w 1161676"/>
                  <a:gd name="connsiteY132" fmla="*/ 237169 h 1216025"/>
                  <a:gd name="connsiteX133" fmla="*/ 440402 w 1161676"/>
                  <a:gd name="connsiteY133" fmla="*/ 257111 h 1216025"/>
                  <a:gd name="connsiteX134" fmla="*/ 434692 w 1161676"/>
                  <a:gd name="connsiteY134" fmla="*/ 288448 h 1216025"/>
                  <a:gd name="connsiteX135" fmla="*/ 460388 w 1161676"/>
                  <a:gd name="connsiteY135" fmla="*/ 319786 h 1216025"/>
                  <a:gd name="connsiteX136" fmla="*/ 456105 w 1161676"/>
                  <a:gd name="connsiteY136" fmla="*/ 328332 h 1216025"/>
                  <a:gd name="connsiteX137" fmla="*/ 442543 w 1161676"/>
                  <a:gd name="connsiteY137" fmla="*/ 356109 h 1216025"/>
                  <a:gd name="connsiteX138" fmla="*/ 425412 w 1161676"/>
                  <a:gd name="connsiteY138" fmla="*/ 382461 h 1216025"/>
                  <a:gd name="connsiteX139" fmla="*/ 419702 w 1161676"/>
                  <a:gd name="connsiteY139" fmla="*/ 389583 h 1216025"/>
                  <a:gd name="connsiteX140" fmla="*/ 376162 w 1161676"/>
                  <a:gd name="connsiteY140" fmla="*/ 382461 h 1216025"/>
                  <a:gd name="connsiteX141" fmla="*/ 355462 w 1161676"/>
                  <a:gd name="connsiteY141" fmla="*/ 398842 h 1216025"/>
                  <a:gd name="connsiteX142" fmla="*/ 354748 w 1161676"/>
                  <a:gd name="connsiteY142" fmla="*/ 443712 h 1216025"/>
                  <a:gd name="connsiteX143" fmla="*/ 346897 w 1161676"/>
                  <a:gd name="connsiteY143" fmla="*/ 447985 h 1216025"/>
                  <a:gd name="connsiteX144" fmla="*/ 317632 w 1161676"/>
                  <a:gd name="connsiteY144" fmla="*/ 460093 h 1216025"/>
                  <a:gd name="connsiteX145" fmla="*/ 288367 w 1161676"/>
                  <a:gd name="connsiteY145" fmla="*/ 469351 h 1216025"/>
                  <a:gd name="connsiteX146" fmla="*/ 279088 w 1161676"/>
                  <a:gd name="connsiteY146" fmla="*/ 471488 h 1216025"/>
                  <a:gd name="connsiteX147" fmla="*/ 247682 w 1161676"/>
                  <a:gd name="connsiteY147" fmla="*/ 435165 h 1216025"/>
                  <a:gd name="connsiteX148" fmla="*/ 239830 w 1161676"/>
                  <a:gd name="connsiteY148" fmla="*/ 435165 h 1216025"/>
                  <a:gd name="connsiteX149" fmla="*/ 225554 w 1161676"/>
                  <a:gd name="connsiteY149" fmla="*/ 435165 h 1216025"/>
                  <a:gd name="connsiteX150" fmla="*/ 195576 w 1161676"/>
                  <a:gd name="connsiteY150" fmla="*/ 471488 h 1216025"/>
                  <a:gd name="connsiteX151" fmla="*/ 186297 w 1161676"/>
                  <a:gd name="connsiteY151" fmla="*/ 469351 h 1216025"/>
                  <a:gd name="connsiteX152" fmla="*/ 156318 w 1161676"/>
                  <a:gd name="connsiteY152" fmla="*/ 460093 h 1216025"/>
                  <a:gd name="connsiteX153" fmla="*/ 127767 w 1161676"/>
                  <a:gd name="connsiteY153" fmla="*/ 447985 h 1216025"/>
                  <a:gd name="connsiteX154" fmla="*/ 119201 w 1161676"/>
                  <a:gd name="connsiteY154" fmla="*/ 443712 h 1216025"/>
                  <a:gd name="connsiteX155" fmla="*/ 118488 w 1161676"/>
                  <a:gd name="connsiteY155" fmla="*/ 398842 h 1216025"/>
                  <a:gd name="connsiteX156" fmla="*/ 98502 w 1161676"/>
                  <a:gd name="connsiteY156" fmla="*/ 382461 h 1216025"/>
                  <a:gd name="connsiteX157" fmla="*/ 54961 w 1161676"/>
                  <a:gd name="connsiteY157" fmla="*/ 389583 h 1216025"/>
                  <a:gd name="connsiteX158" fmla="*/ 49251 w 1161676"/>
                  <a:gd name="connsiteY158" fmla="*/ 381749 h 1216025"/>
                  <a:gd name="connsiteX159" fmla="*/ 32120 w 1161676"/>
                  <a:gd name="connsiteY159" fmla="*/ 356109 h 1216025"/>
                  <a:gd name="connsiteX160" fmla="*/ 17845 w 1161676"/>
                  <a:gd name="connsiteY160" fmla="*/ 328332 h 1216025"/>
                  <a:gd name="connsiteX161" fmla="*/ 14276 w 1161676"/>
                  <a:gd name="connsiteY161" fmla="*/ 319786 h 1216025"/>
                  <a:gd name="connsiteX162" fmla="*/ 39972 w 1161676"/>
                  <a:gd name="connsiteY162" fmla="*/ 288448 h 1216025"/>
                  <a:gd name="connsiteX163" fmla="*/ 34262 w 1161676"/>
                  <a:gd name="connsiteY163" fmla="*/ 257111 h 1216025"/>
                  <a:gd name="connsiteX164" fmla="*/ 0 w 1161676"/>
                  <a:gd name="connsiteY164" fmla="*/ 237169 h 1216025"/>
                  <a:gd name="connsiteX165" fmla="*/ 0 w 1161676"/>
                  <a:gd name="connsiteY165" fmla="*/ 227198 h 1216025"/>
                  <a:gd name="connsiteX166" fmla="*/ 4283 w 1161676"/>
                  <a:gd name="connsiteY166" fmla="*/ 196572 h 1216025"/>
                  <a:gd name="connsiteX167" fmla="*/ 11421 w 1161676"/>
                  <a:gd name="connsiteY167" fmla="*/ 165947 h 1216025"/>
                  <a:gd name="connsiteX168" fmla="*/ 13562 w 1161676"/>
                  <a:gd name="connsiteY168" fmla="*/ 157400 h 1216025"/>
                  <a:gd name="connsiteX169" fmla="*/ 55675 w 1161676"/>
                  <a:gd name="connsiteY169" fmla="*/ 149566 h 1216025"/>
                  <a:gd name="connsiteX170" fmla="*/ 70664 w 1161676"/>
                  <a:gd name="connsiteY170" fmla="*/ 125350 h 1216025"/>
                  <a:gd name="connsiteX171" fmla="*/ 55675 w 1161676"/>
                  <a:gd name="connsiteY171" fmla="*/ 84042 h 1216025"/>
                  <a:gd name="connsiteX172" fmla="*/ 62813 w 1161676"/>
                  <a:gd name="connsiteY172" fmla="*/ 76920 h 1216025"/>
                  <a:gd name="connsiteX173" fmla="*/ 84940 w 1161676"/>
                  <a:gd name="connsiteY173" fmla="*/ 55553 h 1216025"/>
                  <a:gd name="connsiteX174" fmla="*/ 109922 w 1161676"/>
                  <a:gd name="connsiteY174" fmla="*/ 37035 h 1216025"/>
                  <a:gd name="connsiteX175" fmla="*/ 117774 w 1161676"/>
                  <a:gd name="connsiteY175" fmla="*/ 32050 h 1216025"/>
                  <a:gd name="connsiteX176" fmla="*/ 160601 w 1161676"/>
                  <a:gd name="connsiteY176" fmla="*/ 55553 h 1216025"/>
                  <a:gd name="connsiteX177" fmla="*/ 179873 w 1161676"/>
                  <a:gd name="connsiteY177" fmla="*/ 49143 h 1216025"/>
                  <a:gd name="connsiteX178" fmla="*/ 197003 w 1161676"/>
                  <a:gd name="connsiteY178" fmla="*/ 2849 h 1216025"/>
                  <a:gd name="connsiteX179" fmla="*/ 206282 w 1161676"/>
                  <a:gd name="connsiteY179" fmla="*/ 2137 h 1216025"/>
                  <a:gd name="connsiteX180" fmla="*/ 236975 w 1161676"/>
                  <a:gd name="connsiteY180" fmla="*/ 0 h 121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161676" h="1216025">
                    <a:moveTo>
                      <a:pt x="1057885" y="401637"/>
                    </a:moveTo>
                    <a:cubicBezTo>
                      <a:pt x="1060737" y="418053"/>
                      <a:pt x="1063589" y="435183"/>
                      <a:pt x="1065015" y="447317"/>
                    </a:cubicBezTo>
                    <a:cubicBezTo>
                      <a:pt x="1065728" y="458737"/>
                      <a:pt x="1066441" y="474440"/>
                      <a:pt x="1066441" y="490856"/>
                    </a:cubicBezTo>
                    <a:cubicBezTo>
                      <a:pt x="1067154" y="515837"/>
                      <a:pt x="1067867" y="551524"/>
                      <a:pt x="1072145" y="561517"/>
                    </a:cubicBezTo>
                    <a:cubicBezTo>
                      <a:pt x="1082127" y="585071"/>
                      <a:pt x="1099952" y="617903"/>
                      <a:pt x="1120629" y="638602"/>
                    </a:cubicBezTo>
                    <a:cubicBezTo>
                      <a:pt x="1145584" y="664297"/>
                      <a:pt x="1168400" y="700698"/>
                      <a:pt x="1159844" y="721397"/>
                    </a:cubicBezTo>
                    <a:cubicBezTo>
                      <a:pt x="1154140" y="734958"/>
                      <a:pt x="1124907" y="767077"/>
                      <a:pt x="1057172" y="765649"/>
                    </a:cubicBezTo>
                    <a:cubicBezTo>
                      <a:pt x="1058598" y="784921"/>
                      <a:pt x="1060024" y="817039"/>
                      <a:pt x="1060024" y="850585"/>
                    </a:cubicBezTo>
                    <a:cubicBezTo>
                      <a:pt x="1060024" y="949083"/>
                      <a:pt x="1047903" y="974064"/>
                      <a:pt x="1038634" y="984770"/>
                    </a:cubicBezTo>
                    <a:cubicBezTo>
                      <a:pt x="1028652" y="995477"/>
                      <a:pt x="1004410" y="1009038"/>
                      <a:pt x="908868" y="1007610"/>
                    </a:cubicBezTo>
                    <a:cubicBezTo>
                      <a:pt x="882487" y="1007610"/>
                      <a:pt x="846837" y="1006183"/>
                      <a:pt x="824734" y="1004042"/>
                    </a:cubicBezTo>
                    <a:cubicBezTo>
                      <a:pt x="824734" y="1004042"/>
                      <a:pt x="824734" y="1004042"/>
                      <a:pt x="824734" y="1199609"/>
                    </a:cubicBezTo>
                    <a:cubicBezTo>
                      <a:pt x="824734" y="1208174"/>
                      <a:pt x="818317" y="1214598"/>
                      <a:pt x="809761" y="1215311"/>
                    </a:cubicBezTo>
                    <a:cubicBezTo>
                      <a:pt x="808335" y="1215311"/>
                      <a:pt x="799779" y="1216025"/>
                      <a:pt x="785519" y="1216025"/>
                    </a:cubicBezTo>
                    <a:cubicBezTo>
                      <a:pt x="734896" y="1216025"/>
                      <a:pt x="614398" y="1208888"/>
                      <a:pt x="516717" y="1150360"/>
                    </a:cubicBezTo>
                    <a:cubicBezTo>
                      <a:pt x="512439" y="1147505"/>
                      <a:pt x="509587" y="1142509"/>
                      <a:pt x="509587" y="1136799"/>
                    </a:cubicBezTo>
                    <a:cubicBezTo>
                      <a:pt x="509587" y="1136799"/>
                      <a:pt x="509587" y="1136799"/>
                      <a:pt x="509587" y="1055432"/>
                    </a:cubicBezTo>
                    <a:cubicBezTo>
                      <a:pt x="520282" y="1061142"/>
                      <a:pt x="530977" y="1066138"/>
                      <a:pt x="540959" y="1068993"/>
                    </a:cubicBezTo>
                    <a:cubicBezTo>
                      <a:pt x="540959" y="1068993"/>
                      <a:pt x="540959" y="1068993"/>
                      <a:pt x="540959" y="1127520"/>
                    </a:cubicBezTo>
                    <a:cubicBezTo>
                      <a:pt x="635075" y="1181051"/>
                      <a:pt x="752721" y="1184620"/>
                      <a:pt x="793362" y="1184620"/>
                    </a:cubicBezTo>
                    <a:cubicBezTo>
                      <a:pt x="793362" y="1184620"/>
                      <a:pt x="793362" y="1184620"/>
                      <a:pt x="793362" y="986198"/>
                    </a:cubicBezTo>
                    <a:cubicBezTo>
                      <a:pt x="793362" y="981202"/>
                      <a:pt x="796214" y="976205"/>
                      <a:pt x="800492" y="973350"/>
                    </a:cubicBezTo>
                    <a:cubicBezTo>
                      <a:pt x="804057" y="970495"/>
                      <a:pt x="809048" y="969782"/>
                      <a:pt x="813326" y="971209"/>
                    </a:cubicBezTo>
                    <a:cubicBezTo>
                      <a:pt x="819743" y="971923"/>
                      <a:pt x="864662" y="976205"/>
                      <a:pt x="913146" y="976205"/>
                    </a:cubicBezTo>
                    <a:cubicBezTo>
                      <a:pt x="914572" y="976205"/>
                      <a:pt x="915998" y="976205"/>
                      <a:pt x="916711" y="976205"/>
                    </a:cubicBezTo>
                    <a:cubicBezTo>
                      <a:pt x="1000132" y="976205"/>
                      <a:pt x="1014392" y="964785"/>
                      <a:pt x="1015818" y="963358"/>
                    </a:cubicBezTo>
                    <a:cubicBezTo>
                      <a:pt x="1017244" y="961930"/>
                      <a:pt x="1029365" y="946228"/>
                      <a:pt x="1029365" y="850585"/>
                    </a:cubicBezTo>
                    <a:cubicBezTo>
                      <a:pt x="1029365" y="799196"/>
                      <a:pt x="1025800" y="749947"/>
                      <a:pt x="1025800" y="749947"/>
                    </a:cubicBezTo>
                    <a:cubicBezTo>
                      <a:pt x="1025087" y="744951"/>
                      <a:pt x="1027226" y="740668"/>
                      <a:pt x="1030078" y="737099"/>
                    </a:cubicBezTo>
                    <a:cubicBezTo>
                      <a:pt x="1033643" y="734244"/>
                      <a:pt x="1038634" y="732103"/>
                      <a:pt x="1042912" y="732817"/>
                    </a:cubicBezTo>
                    <a:cubicBezTo>
                      <a:pt x="1100665" y="739241"/>
                      <a:pt x="1125620" y="717828"/>
                      <a:pt x="1130611" y="709977"/>
                    </a:cubicBezTo>
                    <a:cubicBezTo>
                      <a:pt x="1129898" y="703553"/>
                      <a:pt x="1120629" y="682854"/>
                      <a:pt x="1098526" y="661442"/>
                    </a:cubicBezTo>
                    <a:cubicBezTo>
                      <a:pt x="1067867" y="630037"/>
                      <a:pt x="1048616" y="585784"/>
                      <a:pt x="1042912" y="572937"/>
                    </a:cubicBezTo>
                    <a:cubicBezTo>
                      <a:pt x="1037921" y="558662"/>
                      <a:pt x="1037208" y="531540"/>
                      <a:pt x="1035782" y="491570"/>
                    </a:cubicBezTo>
                    <a:cubicBezTo>
                      <a:pt x="1035782" y="475153"/>
                      <a:pt x="1035069" y="460878"/>
                      <a:pt x="1034356" y="450172"/>
                    </a:cubicBezTo>
                    <a:cubicBezTo>
                      <a:pt x="1033643" y="446603"/>
                      <a:pt x="1033643" y="443035"/>
                      <a:pt x="1032930" y="438038"/>
                    </a:cubicBezTo>
                    <a:cubicBezTo>
                      <a:pt x="1042912" y="425191"/>
                      <a:pt x="1051468" y="413057"/>
                      <a:pt x="1057885" y="401637"/>
                    </a:cubicBezTo>
                    <a:close/>
                    <a:moveTo>
                      <a:pt x="236180" y="125412"/>
                    </a:moveTo>
                    <a:cubicBezTo>
                      <a:pt x="289777" y="125412"/>
                      <a:pt x="334084" y="162454"/>
                      <a:pt x="344804" y="212318"/>
                    </a:cubicBezTo>
                    <a:cubicBezTo>
                      <a:pt x="346948" y="220153"/>
                      <a:pt x="347662" y="227989"/>
                      <a:pt x="347662" y="236537"/>
                    </a:cubicBezTo>
                    <a:cubicBezTo>
                      <a:pt x="347662" y="242948"/>
                      <a:pt x="346948" y="248647"/>
                      <a:pt x="346233" y="255058"/>
                    </a:cubicBezTo>
                    <a:cubicBezTo>
                      <a:pt x="340516" y="291387"/>
                      <a:pt x="316219" y="322730"/>
                      <a:pt x="282631" y="337689"/>
                    </a:cubicBezTo>
                    <a:cubicBezTo>
                      <a:pt x="270482" y="343388"/>
                      <a:pt x="256904" y="346950"/>
                      <a:pt x="241897" y="347662"/>
                    </a:cubicBezTo>
                    <a:cubicBezTo>
                      <a:pt x="239753" y="347662"/>
                      <a:pt x="238324" y="347662"/>
                      <a:pt x="236180" y="347662"/>
                    </a:cubicBezTo>
                    <a:cubicBezTo>
                      <a:pt x="175436" y="347662"/>
                      <a:pt x="125412" y="297798"/>
                      <a:pt x="125412" y="236537"/>
                    </a:cubicBezTo>
                    <a:cubicBezTo>
                      <a:pt x="125412" y="175276"/>
                      <a:pt x="175436" y="125412"/>
                      <a:pt x="236180" y="125412"/>
                    </a:cubicBezTo>
                    <a:close/>
                    <a:moveTo>
                      <a:pt x="236538" y="30162"/>
                    </a:moveTo>
                    <a:cubicBezTo>
                      <a:pt x="236538" y="30162"/>
                      <a:pt x="227975" y="30162"/>
                      <a:pt x="218699" y="30876"/>
                    </a:cubicBezTo>
                    <a:cubicBezTo>
                      <a:pt x="218699" y="30876"/>
                      <a:pt x="218699" y="30876"/>
                      <a:pt x="202288" y="74445"/>
                    </a:cubicBezTo>
                    <a:cubicBezTo>
                      <a:pt x="202288" y="74445"/>
                      <a:pt x="202288" y="74445"/>
                      <a:pt x="195152" y="76587"/>
                    </a:cubicBezTo>
                    <a:cubicBezTo>
                      <a:pt x="185162" y="78730"/>
                      <a:pt x="175173" y="82301"/>
                      <a:pt x="165897" y="86587"/>
                    </a:cubicBezTo>
                    <a:cubicBezTo>
                      <a:pt x="165897" y="86587"/>
                      <a:pt x="165897" y="86587"/>
                      <a:pt x="158761" y="89444"/>
                    </a:cubicBezTo>
                    <a:cubicBezTo>
                      <a:pt x="158761" y="89444"/>
                      <a:pt x="158761" y="89444"/>
                      <a:pt x="119516" y="67302"/>
                    </a:cubicBezTo>
                    <a:cubicBezTo>
                      <a:pt x="111667" y="73016"/>
                      <a:pt x="105245" y="78730"/>
                      <a:pt x="105245" y="78730"/>
                    </a:cubicBezTo>
                    <a:cubicBezTo>
                      <a:pt x="105245" y="78730"/>
                      <a:pt x="98110" y="84444"/>
                      <a:pt x="91688" y="90872"/>
                    </a:cubicBezTo>
                    <a:cubicBezTo>
                      <a:pt x="91688" y="90872"/>
                      <a:pt x="91688" y="90872"/>
                      <a:pt x="105245" y="130155"/>
                    </a:cubicBezTo>
                    <a:cubicBezTo>
                      <a:pt x="105245" y="130155"/>
                      <a:pt x="105245" y="130155"/>
                      <a:pt x="100251" y="136583"/>
                    </a:cubicBezTo>
                    <a:cubicBezTo>
                      <a:pt x="92402" y="147297"/>
                      <a:pt x="85266" y="158010"/>
                      <a:pt x="80271" y="169438"/>
                    </a:cubicBezTo>
                    <a:cubicBezTo>
                      <a:pt x="80271" y="169438"/>
                      <a:pt x="80271" y="169438"/>
                      <a:pt x="76704" y="176580"/>
                    </a:cubicBezTo>
                    <a:cubicBezTo>
                      <a:pt x="76704" y="176580"/>
                      <a:pt x="76704" y="176580"/>
                      <a:pt x="38172" y="183723"/>
                    </a:cubicBezTo>
                    <a:cubicBezTo>
                      <a:pt x="36032" y="193008"/>
                      <a:pt x="34604" y="200864"/>
                      <a:pt x="34604" y="201579"/>
                    </a:cubicBezTo>
                    <a:cubicBezTo>
                      <a:pt x="34604" y="201579"/>
                      <a:pt x="33177" y="209435"/>
                      <a:pt x="31750" y="219435"/>
                    </a:cubicBezTo>
                    <a:cubicBezTo>
                      <a:pt x="31750" y="219435"/>
                      <a:pt x="31750" y="219435"/>
                      <a:pt x="64573" y="238005"/>
                    </a:cubicBezTo>
                    <a:cubicBezTo>
                      <a:pt x="64573" y="238005"/>
                      <a:pt x="64573" y="238005"/>
                      <a:pt x="64573" y="246575"/>
                    </a:cubicBezTo>
                    <a:cubicBezTo>
                      <a:pt x="65287" y="260146"/>
                      <a:pt x="68141" y="273716"/>
                      <a:pt x="71709" y="286573"/>
                    </a:cubicBezTo>
                    <a:cubicBezTo>
                      <a:pt x="71709" y="286573"/>
                      <a:pt x="71709" y="286573"/>
                      <a:pt x="74563" y="294429"/>
                    </a:cubicBezTo>
                    <a:cubicBezTo>
                      <a:pt x="74563" y="294429"/>
                      <a:pt x="74563" y="294429"/>
                      <a:pt x="50302" y="324427"/>
                    </a:cubicBezTo>
                    <a:cubicBezTo>
                      <a:pt x="54584" y="332284"/>
                      <a:pt x="58865" y="340140"/>
                      <a:pt x="58865" y="340140"/>
                    </a:cubicBezTo>
                    <a:cubicBezTo>
                      <a:pt x="58865" y="340140"/>
                      <a:pt x="63146" y="347283"/>
                      <a:pt x="68141" y="355139"/>
                    </a:cubicBezTo>
                    <a:cubicBezTo>
                      <a:pt x="68141" y="355139"/>
                      <a:pt x="68141" y="355139"/>
                      <a:pt x="108100" y="348711"/>
                    </a:cubicBezTo>
                    <a:cubicBezTo>
                      <a:pt x="108100" y="348711"/>
                      <a:pt x="108100" y="348711"/>
                      <a:pt x="113808" y="354425"/>
                    </a:cubicBezTo>
                    <a:cubicBezTo>
                      <a:pt x="122370" y="362996"/>
                      <a:pt x="132360" y="370138"/>
                      <a:pt x="142350" y="376566"/>
                    </a:cubicBezTo>
                    <a:cubicBezTo>
                      <a:pt x="142350" y="376566"/>
                      <a:pt x="142350" y="376566"/>
                      <a:pt x="149485" y="381566"/>
                    </a:cubicBezTo>
                    <a:cubicBezTo>
                      <a:pt x="149485" y="381566"/>
                      <a:pt x="149485" y="381566"/>
                      <a:pt x="150199" y="423706"/>
                    </a:cubicBezTo>
                    <a:cubicBezTo>
                      <a:pt x="158761" y="427991"/>
                      <a:pt x="166610" y="430848"/>
                      <a:pt x="166610" y="430848"/>
                    </a:cubicBezTo>
                    <a:cubicBezTo>
                      <a:pt x="166610" y="430848"/>
                      <a:pt x="174459" y="433705"/>
                      <a:pt x="183735" y="436562"/>
                    </a:cubicBezTo>
                    <a:cubicBezTo>
                      <a:pt x="183735" y="436562"/>
                      <a:pt x="183735" y="436562"/>
                      <a:pt x="212277" y="402279"/>
                    </a:cubicBezTo>
                    <a:cubicBezTo>
                      <a:pt x="212277" y="402279"/>
                      <a:pt x="212277" y="402279"/>
                      <a:pt x="218699" y="402993"/>
                    </a:cubicBezTo>
                    <a:cubicBezTo>
                      <a:pt x="218699" y="402993"/>
                      <a:pt x="218699" y="402993"/>
                      <a:pt x="220126" y="402993"/>
                    </a:cubicBezTo>
                    <a:cubicBezTo>
                      <a:pt x="230829" y="404422"/>
                      <a:pt x="241533" y="404422"/>
                      <a:pt x="252236" y="402993"/>
                    </a:cubicBezTo>
                    <a:cubicBezTo>
                      <a:pt x="252236" y="402993"/>
                      <a:pt x="252236" y="402993"/>
                      <a:pt x="252949" y="402993"/>
                    </a:cubicBezTo>
                    <a:cubicBezTo>
                      <a:pt x="252949" y="402993"/>
                      <a:pt x="252949" y="402993"/>
                      <a:pt x="260798" y="402279"/>
                    </a:cubicBezTo>
                    <a:cubicBezTo>
                      <a:pt x="260798" y="402279"/>
                      <a:pt x="260798" y="402279"/>
                      <a:pt x="289340" y="436562"/>
                    </a:cubicBezTo>
                    <a:cubicBezTo>
                      <a:pt x="298616" y="433705"/>
                      <a:pt x="306465" y="430848"/>
                      <a:pt x="306465" y="430848"/>
                    </a:cubicBezTo>
                    <a:cubicBezTo>
                      <a:pt x="307179" y="430848"/>
                      <a:pt x="315028" y="427991"/>
                      <a:pt x="323590" y="423706"/>
                    </a:cubicBezTo>
                    <a:cubicBezTo>
                      <a:pt x="323590" y="423706"/>
                      <a:pt x="323590" y="423706"/>
                      <a:pt x="323590" y="381566"/>
                    </a:cubicBezTo>
                    <a:cubicBezTo>
                      <a:pt x="323590" y="381566"/>
                      <a:pt x="323590" y="381566"/>
                      <a:pt x="331439" y="377281"/>
                    </a:cubicBezTo>
                    <a:cubicBezTo>
                      <a:pt x="341429" y="370138"/>
                      <a:pt x="350705" y="362996"/>
                      <a:pt x="359981" y="354425"/>
                    </a:cubicBezTo>
                    <a:cubicBezTo>
                      <a:pt x="359981" y="354425"/>
                      <a:pt x="359981" y="354425"/>
                      <a:pt x="365689" y="348711"/>
                    </a:cubicBezTo>
                    <a:cubicBezTo>
                      <a:pt x="365689" y="348711"/>
                      <a:pt x="365689" y="348711"/>
                      <a:pt x="404934" y="355854"/>
                    </a:cubicBezTo>
                    <a:cubicBezTo>
                      <a:pt x="410643" y="347997"/>
                      <a:pt x="414924" y="340140"/>
                      <a:pt x="414924" y="340140"/>
                    </a:cubicBezTo>
                    <a:cubicBezTo>
                      <a:pt x="414924" y="340140"/>
                      <a:pt x="419205" y="332998"/>
                      <a:pt x="422773" y="324427"/>
                    </a:cubicBezTo>
                    <a:cubicBezTo>
                      <a:pt x="422773" y="324427"/>
                      <a:pt x="422773" y="324427"/>
                      <a:pt x="399226" y="295144"/>
                    </a:cubicBezTo>
                    <a:cubicBezTo>
                      <a:pt x="399226" y="295144"/>
                      <a:pt x="399226" y="295144"/>
                      <a:pt x="402080" y="287287"/>
                    </a:cubicBezTo>
                    <a:cubicBezTo>
                      <a:pt x="405648" y="273716"/>
                      <a:pt x="408502" y="260146"/>
                      <a:pt x="409216" y="246575"/>
                    </a:cubicBezTo>
                    <a:cubicBezTo>
                      <a:pt x="409216" y="246575"/>
                      <a:pt x="409216" y="246575"/>
                      <a:pt x="409929" y="238005"/>
                    </a:cubicBezTo>
                    <a:cubicBezTo>
                      <a:pt x="409929" y="238005"/>
                      <a:pt x="409929" y="238005"/>
                      <a:pt x="441325" y="219435"/>
                    </a:cubicBezTo>
                    <a:cubicBezTo>
                      <a:pt x="440612" y="210149"/>
                      <a:pt x="439185" y="201579"/>
                      <a:pt x="439185" y="201579"/>
                    </a:cubicBezTo>
                    <a:cubicBezTo>
                      <a:pt x="439185" y="201579"/>
                      <a:pt x="437758" y="194436"/>
                      <a:pt x="436330" y="186580"/>
                    </a:cubicBezTo>
                    <a:cubicBezTo>
                      <a:pt x="435617" y="185865"/>
                      <a:pt x="435617" y="184437"/>
                      <a:pt x="435617" y="183723"/>
                    </a:cubicBezTo>
                    <a:cubicBezTo>
                      <a:pt x="435617" y="183723"/>
                      <a:pt x="435617" y="183723"/>
                      <a:pt x="397085" y="176580"/>
                    </a:cubicBezTo>
                    <a:cubicBezTo>
                      <a:pt x="397085" y="176580"/>
                      <a:pt x="397085" y="176580"/>
                      <a:pt x="396372" y="174438"/>
                    </a:cubicBezTo>
                    <a:cubicBezTo>
                      <a:pt x="396372" y="174438"/>
                      <a:pt x="396372" y="174438"/>
                      <a:pt x="394231" y="169438"/>
                    </a:cubicBezTo>
                    <a:cubicBezTo>
                      <a:pt x="388523" y="158010"/>
                      <a:pt x="382101" y="147297"/>
                      <a:pt x="374252" y="136583"/>
                    </a:cubicBezTo>
                    <a:cubicBezTo>
                      <a:pt x="374252" y="136583"/>
                      <a:pt x="374252" y="136583"/>
                      <a:pt x="368544" y="130155"/>
                    </a:cubicBezTo>
                    <a:cubicBezTo>
                      <a:pt x="368544" y="130155"/>
                      <a:pt x="368544" y="130155"/>
                      <a:pt x="382101" y="90872"/>
                    </a:cubicBezTo>
                    <a:cubicBezTo>
                      <a:pt x="375679" y="84444"/>
                      <a:pt x="369257" y="78730"/>
                      <a:pt x="368544" y="78730"/>
                    </a:cubicBezTo>
                    <a:cubicBezTo>
                      <a:pt x="368544" y="78730"/>
                      <a:pt x="362122" y="73016"/>
                      <a:pt x="354986" y="67302"/>
                    </a:cubicBezTo>
                    <a:cubicBezTo>
                      <a:pt x="354986" y="67302"/>
                      <a:pt x="354986" y="67302"/>
                      <a:pt x="315741" y="89444"/>
                    </a:cubicBezTo>
                    <a:cubicBezTo>
                      <a:pt x="315741" y="89444"/>
                      <a:pt x="315741" y="89444"/>
                      <a:pt x="308606" y="86587"/>
                    </a:cubicBezTo>
                    <a:cubicBezTo>
                      <a:pt x="298616" y="82301"/>
                      <a:pt x="289340" y="78730"/>
                      <a:pt x="279350" y="76587"/>
                    </a:cubicBezTo>
                    <a:cubicBezTo>
                      <a:pt x="279350" y="76587"/>
                      <a:pt x="279350" y="76587"/>
                      <a:pt x="270788" y="74445"/>
                    </a:cubicBezTo>
                    <a:cubicBezTo>
                      <a:pt x="270788" y="74445"/>
                      <a:pt x="270788" y="74445"/>
                      <a:pt x="254376" y="30876"/>
                    </a:cubicBezTo>
                    <a:cubicBezTo>
                      <a:pt x="245100" y="30162"/>
                      <a:pt x="236538" y="30162"/>
                      <a:pt x="236538" y="30162"/>
                    </a:cubicBezTo>
                    <a:close/>
                    <a:moveTo>
                      <a:pt x="236975" y="0"/>
                    </a:moveTo>
                    <a:cubicBezTo>
                      <a:pt x="237689" y="0"/>
                      <a:pt x="254106" y="0"/>
                      <a:pt x="268381" y="2137"/>
                    </a:cubicBezTo>
                    <a:cubicBezTo>
                      <a:pt x="268381" y="2137"/>
                      <a:pt x="268381" y="2137"/>
                      <a:pt x="277660" y="2849"/>
                    </a:cubicBezTo>
                    <a:cubicBezTo>
                      <a:pt x="277660" y="2849"/>
                      <a:pt x="277660" y="2849"/>
                      <a:pt x="294791" y="49143"/>
                    </a:cubicBezTo>
                    <a:cubicBezTo>
                      <a:pt x="301215" y="51280"/>
                      <a:pt x="307639" y="53416"/>
                      <a:pt x="314063" y="55553"/>
                    </a:cubicBezTo>
                    <a:cubicBezTo>
                      <a:pt x="314063" y="55553"/>
                      <a:pt x="314063" y="55553"/>
                      <a:pt x="356890" y="32050"/>
                    </a:cubicBezTo>
                    <a:cubicBezTo>
                      <a:pt x="356890" y="32050"/>
                      <a:pt x="356890" y="32050"/>
                      <a:pt x="364741" y="37035"/>
                    </a:cubicBezTo>
                    <a:cubicBezTo>
                      <a:pt x="376162" y="44870"/>
                      <a:pt x="389010" y="55553"/>
                      <a:pt x="389724" y="55553"/>
                    </a:cubicBezTo>
                    <a:cubicBezTo>
                      <a:pt x="389724" y="56265"/>
                      <a:pt x="402572" y="66949"/>
                      <a:pt x="412564" y="76920"/>
                    </a:cubicBezTo>
                    <a:cubicBezTo>
                      <a:pt x="412564" y="76920"/>
                      <a:pt x="412564" y="76920"/>
                      <a:pt x="418988" y="84042"/>
                    </a:cubicBezTo>
                    <a:cubicBezTo>
                      <a:pt x="418988" y="84042"/>
                      <a:pt x="418988" y="84042"/>
                      <a:pt x="403999" y="125350"/>
                    </a:cubicBezTo>
                    <a:cubicBezTo>
                      <a:pt x="409709" y="132473"/>
                      <a:pt x="414706" y="140307"/>
                      <a:pt x="418988" y="149566"/>
                    </a:cubicBezTo>
                    <a:cubicBezTo>
                      <a:pt x="418988" y="149566"/>
                      <a:pt x="418988" y="149566"/>
                      <a:pt x="433978" y="152415"/>
                    </a:cubicBezTo>
                    <a:cubicBezTo>
                      <a:pt x="433978" y="152415"/>
                      <a:pt x="433978" y="152415"/>
                      <a:pt x="461101" y="157400"/>
                    </a:cubicBezTo>
                    <a:cubicBezTo>
                      <a:pt x="461101" y="157400"/>
                      <a:pt x="461101" y="157400"/>
                      <a:pt x="463243" y="166659"/>
                    </a:cubicBezTo>
                    <a:cubicBezTo>
                      <a:pt x="463957" y="168083"/>
                      <a:pt x="464670" y="170220"/>
                      <a:pt x="464670" y="171645"/>
                    </a:cubicBezTo>
                    <a:cubicBezTo>
                      <a:pt x="468239" y="183752"/>
                      <a:pt x="470381" y="195860"/>
                      <a:pt x="470381" y="196572"/>
                    </a:cubicBezTo>
                    <a:cubicBezTo>
                      <a:pt x="470381" y="197284"/>
                      <a:pt x="473236" y="213665"/>
                      <a:pt x="474663" y="227910"/>
                    </a:cubicBezTo>
                    <a:cubicBezTo>
                      <a:pt x="474663" y="227910"/>
                      <a:pt x="474663" y="227910"/>
                      <a:pt x="474663" y="237169"/>
                    </a:cubicBezTo>
                    <a:cubicBezTo>
                      <a:pt x="474663" y="237169"/>
                      <a:pt x="474663" y="237169"/>
                      <a:pt x="440402" y="257111"/>
                    </a:cubicBezTo>
                    <a:cubicBezTo>
                      <a:pt x="439688" y="267794"/>
                      <a:pt x="437547" y="278477"/>
                      <a:pt x="434692" y="288448"/>
                    </a:cubicBezTo>
                    <a:cubicBezTo>
                      <a:pt x="434692" y="288448"/>
                      <a:pt x="434692" y="288448"/>
                      <a:pt x="460388" y="319786"/>
                    </a:cubicBezTo>
                    <a:cubicBezTo>
                      <a:pt x="460388" y="319786"/>
                      <a:pt x="460388" y="319786"/>
                      <a:pt x="456105" y="328332"/>
                    </a:cubicBezTo>
                    <a:cubicBezTo>
                      <a:pt x="451109" y="341152"/>
                      <a:pt x="442543" y="355397"/>
                      <a:pt x="442543" y="356109"/>
                    </a:cubicBezTo>
                    <a:cubicBezTo>
                      <a:pt x="441829" y="356821"/>
                      <a:pt x="433978" y="371065"/>
                      <a:pt x="425412" y="382461"/>
                    </a:cubicBezTo>
                    <a:cubicBezTo>
                      <a:pt x="425412" y="382461"/>
                      <a:pt x="425412" y="382461"/>
                      <a:pt x="419702" y="389583"/>
                    </a:cubicBezTo>
                    <a:cubicBezTo>
                      <a:pt x="419702" y="389583"/>
                      <a:pt x="419702" y="389583"/>
                      <a:pt x="376162" y="382461"/>
                    </a:cubicBezTo>
                    <a:cubicBezTo>
                      <a:pt x="369738" y="388871"/>
                      <a:pt x="362600" y="393856"/>
                      <a:pt x="355462" y="398842"/>
                    </a:cubicBezTo>
                    <a:cubicBezTo>
                      <a:pt x="355462" y="398842"/>
                      <a:pt x="355462" y="398842"/>
                      <a:pt x="354748" y="443712"/>
                    </a:cubicBezTo>
                    <a:cubicBezTo>
                      <a:pt x="354748" y="443712"/>
                      <a:pt x="354748" y="443712"/>
                      <a:pt x="346897" y="447985"/>
                    </a:cubicBezTo>
                    <a:cubicBezTo>
                      <a:pt x="334049" y="454395"/>
                      <a:pt x="318346" y="460093"/>
                      <a:pt x="317632" y="460093"/>
                    </a:cubicBezTo>
                    <a:cubicBezTo>
                      <a:pt x="317632" y="460805"/>
                      <a:pt x="301929" y="465790"/>
                      <a:pt x="288367" y="469351"/>
                    </a:cubicBezTo>
                    <a:cubicBezTo>
                      <a:pt x="288367" y="469351"/>
                      <a:pt x="288367" y="469351"/>
                      <a:pt x="279088" y="471488"/>
                    </a:cubicBezTo>
                    <a:cubicBezTo>
                      <a:pt x="279088" y="471488"/>
                      <a:pt x="279088" y="471488"/>
                      <a:pt x="247682" y="435165"/>
                    </a:cubicBezTo>
                    <a:cubicBezTo>
                      <a:pt x="244826" y="435165"/>
                      <a:pt x="242685" y="435165"/>
                      <a:pt x="239830" y="435165"/>
                    </a:cubicBezTo>
                    <a:cubicBezTo>
                      <a:pt x="235547" y="435165"/>
                      <a:pt x="230551" y="435165"/>
                      <a:pt x="225554" y="435165"/>
                    </a:cubicBezTo>
                    <a:cubicBezTo>
                      <a:pt x="225554" y="435165"/>
                      <a:pt x="225554" y="435165"/>
                      <a:pt x="195576" y="471488"/>
                    </a:cubicBezTo>
                    <a:cubicBezTo>
                      <a:pt x="195576" y="471488"/>
                      <a:pt x="195576" y="471488"/>
                      <a:pt x="186297" y="469351"/>
                    </a:cubicBezTo>
                    <a:cubicBezTo>
                      <a:pt x="172735" y="465790"/>
                      <a:pt x="157032" y="460093"/>
                      <a:pt x="156318" y="460093"/>
                    </a:cubicBezTo>
                    <a:cubicBezTo>
                      <a:pt x="155604" y="460093"/>
                      <a:pt x="140615" y="454395"/>
                      <a:pt x="127767" y="447985"/>
                    </a:cubicBezTo>
                    <a:cubicBezTo>
                      <a:pt x="127767" y="447985"/>
                      <a:pt x="127767" y="447985"/>
                      <a:pt x="119201" y="443712"/>
                    </a:cubicBezTo>
                    <a:cubicBezTo>
                      <a:pt x="119201" y="443712"/>
                      <a:pt x="119201" y="443712"/>
                      <a:pt x="118488" y="398842"/>
                    </a:cubicBezTo>
                    <a:cubicBezTo>
                      <a:pt x="111350" y="393856"/>
                      <a:pt x="104926" y="388159"/>
                      <a:pt x="98502" y="382461"/>
                    </a:cubicBezTo>
                    <a:cubicBezTo>
                      <a:pt x="98502" y="382461"/>
                      <a:pt x="98502" y="382461"/>
                      <a:pt x="54961" y="389583"/>
                    </a:cubicBezTo>
                    <a:cubicBezTo>
                      <a:pt x="54961" y="389583"/>
                      <a:pt x="54961" y="389583"/>
                      <a:pt x="49251" y="381749"/>
                    </a:cubicBezTo>
                    <a:cubicBezTo>
                      <a:pt x="40686" y="371065"/>
                      <a:pt x="32120" y="356821"/>
                      <a:pt x="32120" y="356109"/>
                    </a:cubicBezTo>
                    <a:cubicBezTo>
                      <a:pt x="31407" y="355397"/>
                      <a:pt x="23555" y="341152"/>
                      <a:pt x="17845" y="328332"/>
                    </a:cubicBezTo>
                    <a:cubicBezTo>
                      <a:pt x="17845" y="328332"/>
                      <a:pt x="17845" y="328332"/>
                      <a:pt x="14276" y="319786"/>
                    </a:cubicBezTo>
                    <a:cubicBezTo>
                      <a:pt x="14276" y="319786"/>
                      <a:pt x="14276" y="319786"/>
                      <a:pt x="39972" y="288448"/>
                    </a:cubicBezTo>
                    <a:cubicBezTo>
                      <a:pt x="37117" y="278477"/>
                      <a:pt x="35689" y="267794"/>
                      <a:pt x="34262" y="257111"/>
                    </a:cubicBezTo>
                    <a:cubicBezTo>
                      <a:pt x="34262" y="257111"/>
                      <a:pt x="34262" y="257111"/>
                      <a:pt x="0" y="237169"/>
                    </a:cubicBezTo>
                    <a:cubicBezTo>
                      <a:pt x="0" y="237169"/>
                      <a:pt x="0" y="237169"/>
                      <a:pt x="0" y="227198"/>
                    </a:cubicBezTo>
                    <a:cubicBezTo>
                      <a:pt x="714" y="212953"/>
                      <a:pt x="3569" y="197284"/>
                      <a:pt x="4283" y="196572"/>
                    </a:cubicBezTo>
                    <a:cubicBezTo>
                      <a:pt x="4283" y="195860"/>
                      <a:pt x="7138" y="179479"/>
                      <a:pt x="11421" y="165947"/>
                    </a:cubicBezTo>
                    <a:cubicBezTo>
                      <a:pt x="11421" y="165947"/>
                      <a:pt x="11421" y="165947"/>
                      <a:pt x="13562" y="157400"/>
                    </a:cubicBezTo>
                    <a:cubicBezTo>
                      <a:pt x="13562" y="157400"/>
                      <a:pt x="13562" y="157400"/>
                      <a:pt x="55675" y="149566"/>
                    </a:cubicBezTo>
                    <a:cubicBezTo>
                      <a:pt x="59958" y="140307"/>
                      <a:pt x="64954" y="132473"/>
                      <a:pt x="70664" y="125350"/>
                    </a:cubicBezTo>
                    <a:cubicBezTo>
                      <a:pt x="70664" y="125350"/>
                      <a:pt x="70664" y="125350"/>
                      <a:pt x="55675" y="84042"/>
                    </a:cubicBezTo>
                    <a:cubicBezTo>
                      <a:pt x="55675" y="84042"/>
                      <a:pt x="55675" y="84042"/>
                      <a:pt x="62813" y="76920"/>
                    </a:cubicBezTo>
                    <a:cubicBezTo>
                      <a:pt x="72092" y="66236"/>
                      <a:pt x="84940" y="56265"/>
                      <a:pt x="84940" y="55553"/>
                    </a:cubicBezTo>
                    <a:cubicBezTo>
                      <a:pt x="85654" y="54841"/>
                      <a:pt x="98502" y="44870"/>
                      <a:pt x="109922" y="37035"/>
                    </a:cubicBezTo>
                    <a:cubicBezTo>
                      <a:pt x="109922" y="37035"/>
                      <a:pt x="109922" y="37035"/>
                      <a:pt x="117774" y="32050"/>
                    </a:cubicBezTo>
                    <a:cubicBezTo>
                      <a:pt x="117774" y="32050"/>
                      <a:pt x="117774" y="32050"/>
                      <a:pt x="160601" y="55553"/>
                    </a:cubicBezTo>
                    <a:cubicBezTo>
                      <a:pt x="167025" y="53416"/>
                      <a:pt x="173449" y="51280"/>
                      <a:pt x="179873" y="49143"/>
                    </a:cubicBezTo>
                    <a:cubicBezTo>
                      <a:pt x="179873" y="49143"/>
                      <a:pt x="179873" y="49143"/>
                      <a:pt x="197003" y="2849"/>
                    </a:cubicBezTo>
                    <a:cubicBezTo>
                      <a:pt x="197003" y="2849"/>
                      <a:pt x="197003" y="2849"/>
                      <a:pt x="206282" y="2137"/>
                    </a:cubicBezTo>
                    <a:cubicBezTo>
                      <a:pt x="219844" y="0"/>
                      <a:pt x="236261" y="0"/>
                      <a:pt x="23697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6" name="Group 15">
            <a:extLst>
              <a:ext uri="{FF2B5EF4-FFF2-40B4-BE49-F238E27FC236}">
                <a16:creationId xmlns:a16="http://schemas.microsoft.com/office/drawing/2014/main" id="{AB021260-3963-4AA5-86B2-9D8B1A9A91C0}"/>
              </a:ext>
            </a:extLst>
          </p:cNvPr>
          <p:cNvGrpSpPr>
            <a:grpSpLocks noChangeAspect="1"/>
          </p:cNvGrpSpPr>
          <p:nvPr/>
        </p:nvGrpSpPr>
        <p:grpSpPr>
          <a:xfrm>
            <a:off x="9046800" y="470142"/>
            <a:ext cx="1644650" cy="1644650"/>
            <a:chOff x="5273675" y="2606675"/>
            <a:chExt cx="1644650" cy="1644650"/>
          </a:xfrm>
        </p:grpSpPr>
        <p:sp>
          <p:nvSpPr>
            <p:cNvPr id="17" name="AutoShape 3">
              <a:extLst>
                <a:ext uri="{FF2B5EF4-FFF2-40B4-BE49-F238E27FC236}">
                  <a16:creationId xmlns:a16="http://schemas.microsoft.com/office/drawing/2014/main" id="{909A57FB-2F2D-41E3-9B1C-993CF75C17F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 name="Group 17">
              <a:extLst>
                <a:ext uri="{FF2B5EF4-FFF2-40B4-BE49-F238E27FC236}">
                  <a16:creationId xmlns:a16="http://schemas.microsoft.com/office/drawing/2014/main" id="{D274B408-68B3-4061-A67A-369BB95D635A}"/>
                </a:ext>
              </a:extLst>
            </p:cNvPr>
            <p:cNvGrpSpPr/>
            <p:nvPr/>
          </p:nvGrpSpPr>
          <p:grpSpPr>
            <a:xfrm>
              <a:off x="5646738" y="2776538"/>
              <a:ext cx="898525" cy="1304925"/>
              <a:chOff x="5646738" y="2776538"/>
              <a:chExt cx="898525" cy="1304925"/>
            </a:xfrm>
          </p:grpSpPr>
          <p:sp>
            <p:nvSpPr>
              <p:cNvPr id="20" name="Freeform 27">
                <a:extLst>
                  <a:ext uri="{FF2B5EF4-FFF2-40B4-BE49-F238E27FC236}">
                    <a16:creationId xmlns:a16="http://schemas.microsoft.com/office/drawing/2014/main" id="{92723776-7522-4652-8B93-2B1593F44131}"/>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1" name="Freeform 26">
                <a:extLst>
                  <a:ext uri="{FF2B5EF4-FFF2-40B4-BE49-F238E27FC236}">
                    <a16:creationId xmlns:a16="http://schemas.microsoft.com/office/drawing/2014/main" id="{80541570-12D6-4801-9556-C42EAD2C2893}"/>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22" name="ee4pHeader1">
            <a:extLst>
              <a:ext uri="{FF2B5EF4-FFF2-40B4-BE49-F238E27FC236}">
                <a16:creationId xmlns:a16="http://schemas.microsoft.com/office/drawing/2014/main" id="{BDAD8FAF-E997-4C2F-B0B4-37554EF534FC}"/>
              </a:ext>
            </a:extLst>
          </p:cNvPr>
          <p:cNvSpPr txBox="1"/>
          <p:nvPr/>
        </p:nvSpPr>
        <p:spPr>
          <a:xfrm>
            <a:off x="5323978" y="2401394"/>
            <a:ext cx="2517471" cy="759600"/>
          </a:xfrm>
          <a:prstGeom prst="rect">
            <a:avLst/>
          </a:prstGeom>
          <a:noFill/>
          <a:ln cap="rnd">
            <a:noFill/>
          </a:ln>
        </p:spPr>
        <p:txBody>
          <a:bodyPr wrap="square" lIns="0" tIns="0" rIns="0" bIns="0" rtlCol="0" anchor="b">
            <a:noAutofit/>
          </a:bodyPr>
          <a:lstStyle/>
          <a:p>
            <a:pPr marL="0" lvl="3"/>
            <a:r>
              <a:rPr lang="en-US" sz="2400" dirty="0">
                <a:solidFill>
                  <a:schemeClr val="tx2"/>
                </a:solidFill>
              </a:rPr>
              <a:t>Teams</a:t>
            </a:r>
          </a:p>
        </p:txBody>
      </p:sp>
      <p:sp>
        <p:nvSpPr>
          <p:cNvPr id="23" name="ee4pHeader1">
            <a:extLst>
              <a:ext uri="{FF2B5EF4-FFF2-40B4-BE49-F238E27FC236}">
                <a16:creationId xmlns:a16="http://schemas.microsoft.com/office/drawing/2014/main" id="{10EA1347-1E0A-450B-909D-546B39627491}"/>
              </a:ext>
            </a:extLst>
          </p:cNvPr>
          <p:cNvSpPr txBox="1"/>
          <p:nvPr/>
        </p:nvSpPr>
        <p:spPr>
          <a:xfrm>
            <a:off x="9046800" y="2401394"/>
            <a:ext cx="2517471" cy="759600"/>
          </a:xfrm>
          <a:prstGeom prst="rect">
            <a:avLst/>
          </a:prstGeom>
          <a:noFill/>
          <a:ln cap="rnd">
            <a:noFill/>
          </a:ln>
        </p:spPr>
        <p:txBody>
          <a:bodyPr wrap="square" lIns="0" tIns="0" rIns="0" bIns="0" rtlCol="0" anchor="b">
            <a:noAutofit/>
          </a:bodyPr>
          <a:lstStyle/>
          <a:p>
            <a:pPr marL="0" lvl="3"/>
            <a:r>
              <a:rPr lang="en-US" sz="2400" dirty="0">
                <a:solidFill>
                  <a:schemeClr val="tx2"/>
                </a:solidFill>
              </a:rPr>
              <a:t>Selection Committee</a:t>
            </a:r>
          </a:p>
        </p:txBody>
      </p:sp>
    </p:spTree>
    <p:custDataLst>
      <p:tags r:id="rId2"/>
    </p:custDataLst>
    <p:extLst>
      <p:ext uri="{BB962C8B-B14F-4D97-AF65-F5344CB8AC3E}">
        <p14:creationId xmlns:p14="http://schemas.microsoft.com/office/powerpoint/2010/main" val="4186730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CAD837C-4EAD-4B41-B376-8F9F1035E0BE}"/>
              </a:ext>
            </a:extLst>
          </p:cNvPr>
          <p:cNvGraphicFramePr>
            <a:graphicFrameLocks noChangeAspect="1"/>
          </p:cNvGraphicFramePr>
          <p:nvPr>
            <p:custDataLst>
              <p:tags r:id="rId3"/>
            </p:custDataLst>
            <p:extLst>
              <p:ext uri="{D42A27DB-BD31-4B8C-83A1-F6EECF244321}">
                <p14:modId xmlns:p14="http://schemas.microsoft.com/office/powerpoint/2010/main" val="1795544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2" name="think-cell Slide" r:id="rId12" imgW="395" imgH="396" progId="TCLayout.ActiveDocument.1">
                  <p:embed/>
                </p:oleObj>
              </mc:Choice>
              <mc:Fallback>
                <p:oleObj name="think-cell Slide" r:id="rId12" imgW="395" imgH="396"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F00F5969-6F14-401D-BA85-DAA9FBE165DD}"/>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ee4pHeader1">
            <a:extLst>
              <a:ext uri="{FF2B5EF4-FFF2-40B4-BE49-F238E27FC236}">
                <a16:creationId xmlns:a16="http://schemas.microsoft.com/office/drawing/2014/main" id="{B3300F61-D7CF-49A8-8C58-005B1D2225F7}"/>
              </a:ext>
            </a:extLst>
          </p:cNvPr>
          <p:cNvSpPr>
            <a:spLocks noChangeArrowheads="1"/>
          </p:cNvSpPr>
          <p:nvPr>
            <p:custDataLst>
              <p:tags r:id="rId5"/>
            </p:custDataLst>
          </p:nvPr>
        </p:nvSpPr>
        <p:spPr bwMode="gray">
          <a:xfrm>
            <a:off x="630000" y="2080800"/>
            <a:ext cx="2232000" cy="874800"/>
          </a:xfrm>
          <a:prstGeom prst="homePlate">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Conference Submission              </a:t>
            </a:r>
          </a:p>
        </p:txBody>
      </p:sp>
      <p:sp>
        <p:nvSpPr>
          <p:cNvPr id="3" name="ee4pHeader2">
            <a:extLst>
              <a:ext uri="{FF2B5EF4-FFF2-40B4-BE49-F238E27FC236}">
                <a16:creationId xmlns:a16="http://schemas.microsoft.com/office/drawing/2014/main" id="{71546A3F-06CF-419B-B555-34647C61DE14}"/>
              </a:ext>
            </a:extLst>
          </p:cNvPr>
          <p:cNvSpPr>
            <a:spLocks noChangeArrowheads="1"/>
          </p:cNvSpPr>
          <p:nvPr>
            <p:custDataLst>
              <p:tags r:id="rId6"/>
            </p:custDataLst>
          </p:nvPr>
        </p:nvSpPr>
        <p:spPr bwMode="gray">
          <a:xfrm>
            <a:off x="2877338"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Grading Release</a:t>
            </a:r>
          </a:p>
        </p:txBody>
      </p:sp>
      <p:sp>
        <p:nvSpPr>
          <p:cNvPr id="4" name="ee4pHeader3">
            <a:extLst>
              <a:ext uri="{FF2B5EF4-FFF2-40B4-BE49-F238E27FC236}">
                <a16:creationId xmlns:a16="http://schemas.microsoft.com/office/drawing/2014/main" id="{C562F51F-56F5-4E2F-8699-0287707591F3}"/>
              </a:ext>
            </a:extLst>
          </p:cNvPr>
          <p:cNvSpPr>
            <a:spLocks noChangeArrowheads="1"/>
          </p:cNvSpPr>
          <p:nvPr>
            <p:custDataLst>
              <p:tags r:id="rId7"/>
            </p:custDataLst>
          </p:nvPr>
        </p:nvSpPr>
        <p:spPr bwMode="gray">
          <a:xfrm>
            <a:off x="5124676"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Event Scheduling</a:t>
            </a:r>
          </a:p>
        </p:txBody>
      </p:sp>
      <p:sp>
        <p:nvSpPr>
          <p:cNvPr id="5" name="ee4pHeader4">
            <a:extLst>
              <a:ext uri="{FF2B5EF4-FFF2-40B4-BE49-F238E27FC236}">
                <a16:creationId xmlns:a16="http://schemas.microsoft.com/office/drawing/2014/main" id="{2EDDD957-683B-4988-AAD0-217BE64C03DD}"/>
              </a:ext>
            </a:extLst>
          </p:cNvPr>
          <p:cNvSpPr>
            <a:spLocks noChangeArrowheads="1"/>
          </p:cNvSpPr>
          <p:nvPr>
            <p:custDataLst>
              <p:tags r:id="rId8"/>
            </p:custDataLst>
          </p:nvPr>
        </p:nvSpPr>
        <p:spPr bwMode="gray">
          <a:xfrm>
            <a:off x="7372014"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Points</a:t>
            </a:r>
          </a:p>
          <a:p>
            <a:pPr algn="ctr" eaLnBrk="0" hangingPunct="0"/>
            <a:r>
              <a:rPr lang="en-US" sz="2400" dirty="0">
                <a:solidFill>
                  <a:schemeClr val="bg1"/>
                </a:solidFill>
                <a:sym typeface="Trebuchet MS" panose="020B0603020202020204" pitchFamily="34" charset="0"/>
              </a:rPr>
              <a:t>Earned</a:t>
            </a:r>
          </a:p>
        </p:txBody>
      </p:sp>
      <p:sp>
        <p:nvSpPr>
          <p:cNvPr id="6" name="ee4pHeader5">
            <a:extLst>
              <a:ext uri="{FF2B5EF4-FFF2-40B4-BE49-F238E27FC236}">
                <a16:creationId xmlns:a16="http://schemas.microsoft.com/office/drawing/2014/main" id="{AEE87A08-7A12-45FA-8426-BCF8ACC55CA9}"/>
              </a:ext>
            </a:extLst>
          </p:cNvPr>
          <p:cNvSpPr>
            <a:spLocks noChangeArrowheads="1"/>
          </p:cNvSpPr>
          <p:nvPr>
            <p:custDataLst>
              <p:tags r:id="rId9"/>
            </p:custDataLst>
          </p:nvPr>
        </p:nvSpPr>
        <p:spPr bwMode="gray">
          <a:xfrm>
            <a:off x="9619350"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Year-end Ranking</a:t>
            </a:r>
          </a:p>
        </p:txBody>
      </p:sp>
      <p:sp>
        <p:nvSpPr>
          <p:cNvPr id="7" name="ee4pContent1">
            <a:extLst>
              <a:ext uri="{FF2B5EF4-FFF2-40B4-BE49-F238E27FC236}">
                <a16:creationId xmlns:a16="http://schemas.microsoft.com/office/drawing/2014/main" id="{128A23B4-F59B-4521-83D5-61A5D72372CA}"/>
              </a:ext>
            </a:extLst>
          </p:cNvPr>
          <p:cNvSpPr txBox="1"/>
          <p:nvPr/>
        </p:nvSpPr>
        <p:spPr>
          <a:xfrm>
            <a:off x="630000" y="3247200"/>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Conference submit schedule</a:t>
            </a:r>
          </a:p>
          <a:p>
            <a:endParaRPr lang="en-US" dirty="0">
              <a:latin typeface="+mn-lt"/>
            </a:endParaRPr>
          </a:p>
          <a:p>
            <a:r>
              <a:rPr lang="en-US" dirty="0">
                <a:latin typeface="+mn-lt"/>
              </a:rPr>
              <a:t>Recommend grading for events</a:t>
            </a:r>
          </a:p>
        </p:txBody>
      </p:sp>
      <p:sp>
        <p:nvSpPr>
          <p:cNvPr id="12" name="Title 11">
            <a:extLst>
              <a:ext uri="{FF2B5EF4-FFF2-40B4-BE49-F238E27FC236}">
                <a16:creationId xmlns:a16="http://schemas.microsoft.com/office/drawing/2014/main" id="{08296290-F8EE-4524-8CE6-B1D690669BB7}"/>
              </a:ext>
            </a:extLst>
          </p:cNvPr>
          <p:cNvSpPr>
            <a:spLocks noGrp="1"/>
          </p:cNvSpPr>
          <p:nvPr>
            <p:ph type="title"/>
          </p:nvPr>
        </p:nvSpPr>
        <p:spPr/>
        <p:txBody>
          <a:bodyPr/>
          <a:lstStyle/>
          <a:p>
            <a:r>
              <a:rPr lang="en-US" dirty="0"/>
              <a:t>Events are graded to reflect relative difficulty</a:t>
            </a:r>
          </a:p>
        </p:txBody>
      </p:sp>
    </p:spTree>
    <p:custDataLst>
      <p:tags r:id="rId2"/>
    </p:custDataLst>
    <p:extLst>
      <p:ext uri="{BB962C8B-B14F-4D97-AF65-F5344CB8AC3E}">
        <p14:creationId xmlns:p14="http://schemas.microsoft.com/office/powerpoint/2010/main" val="3087163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CAD837C-4EAD-4B41-B376-8F9F1035E0B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6" name="think-cell Slide" r:id="rId12" imgW="395" imgH="396" progId="TCLayout.ActiveDocument.1">
                  <p:embed/>
                </p:oleObj>
              </mc:Choice>
              <mc:Fallback>
                <p:oleObj name="think-cell Slide" r:id="rId12" imgW="395" imgH="396" progId="TCLayout.ActiveDocument.1">
                  <p:embed/>
                  <p:pic>
                    <p:nvPicPr>
                      <p:cNvPr id="13" name="Object 12" hidden="1">
                        <a:extLst>
                          <a:ext uri="{FF2B5EF4-FFF2-40B4-BE49-F238E27FC236}">
                            <a16:creationId xmlns:a16="http://schemas.microsoft.com/office/drawing/2014/main" id="{3CAD837C-4EAD-4B41-B376-8F9F1035E0B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F00F5969-6F14-401D-BA85-DAA9FBE165DD}"/>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ee4pHeader1">
            <a:extLst>
              <a:ext uri="{FF2B5EF4-FFF2-40B4-BE49-F238E27FC236}">
                <a16:creationId xmlns:a16="http://schemas.microsoft.com/office/drawing/2014/main" id="{B3300F61-D7CF-49A8-8C58-005B1D2225F7}"/>
              </a:ext>
            </a:extLst>
          </p:cNvPr>
          <p:cNvSpPr>
            <a:spLocks noChangeArrowheads="1"/>
          </p:cNvSpPr>
          <p:nvPr>
            <p:custDataLst>
              <p:tags r:id="rId5"/>
            </p:custDataLst>
          </p:nvPr>
        </p:nvSpPr>
        <p:spPr bwMode="gray">
          <a:xfrm>
            <a:off x="630000" y="2080800"/>
            <a:ext cx="2232000" cy="874800"/>
          </a:xfrm>
          <a:prstGeom prst="homePlate">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Conference Submission              </a:t>
            </a:r>
          </a:p>
        </p:txBody>
      </p:sp>
      <p:sp>
        <p:nvSpPr>
          <p:cNvPr id="3" name="ee4pHeader2">
            <a:extLst>
              <a:ext uri="{FF2B5EF4-FFF2-40B4-BE49-F238E27FC236}">
                <a16:creationId xmlns:a16="http://schemas.microsoft.com/office/drawing/2014/main" id="{71546A3F-06CF-419B-B555-34647C61DE14}"/>
              </a:ext>
            </a:extLst>
          </p:cNvPr>
          <p:cNvSpPr>
            <a:spLocks noChangeArrowheads="1"/>
          </p:cNvSpPr>
          <p:nvPr>
            <p:custDataLst>
              <p:tags r:id="rId6"/>
            </p:custDataLst>
          </p:nvPr>
        </p:nvSpPr>
        <p:spPr bwMode="gray">
          <a:xfrm>
            <a:off x="2877338"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Grading Release</a:t>
            </a:r>
          </a:p>
        </p:txBody>
      </p:sp>
      <p:sp>
        <p:nvSpPr>
          <p:cNvPr id="4" name="ee4pHeader3">
            <a:extLst>
              <a:ext uri="{FF2B5EF4-FFF2-40B4-BE49-F238E27FC236}">
                <a16:creationId xmlns:a16="http://schemas.microsoft.com/office/drawing/2014/main" id="{C562F51F-56F5-4E2F-8699-0287707591F3}"/>
              </a:ext>
            </a:extLst>
          </p:cNvPr>
          <p:cNvSpPr>
            <a:spLocks noChangeArrowheads="1"/>
          </p:cNvSpPr>
          <p:nvPr>
            <p:custDataLst>
              <p:tags r:id="rId7"/>
            </p:custDataLst>
          </p:nvPr>
        </p:nvSpPr>
        <p:spPr bwMode="gray">
          <a:xfrm>
            <a:off x="5124676"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Event Scheduling</a:t>
            </a:r>
          </a:p>
        </p:txBody>
      </p:sp>
      <p:sp>
        <p:nvSpPr>
          <p:cNvPr id="5" name="ee4pHeader4">
            <a:extLst>
              <a:ext uri="{FF2B5EF4-FFF2-40B4-BE49-F238E27FC236}">
                <a16:creationId xmlns:a16="http://schemas.microsoft.com/office/drawing/2014/main" id="{2EDDD957-683B-4988-AAD0-217BE64C03DD}"/>
              </a:ext>
            </a:extLst>
          </p:cNvPr>
          <p:cNvSpPr>
            <a:spLocks noChangeArrowheads="1"/>
          </p:cNvSpPr>
          <p:nvPr>
            <p:custDataLst>
              <p:tags r:id="rId8"/>
            </p:custDataLst>
          </p:nvPr>
        </p:nvSpPr>
        <p:spPr bwMode="gray">
          <a:xfrm>
            <a:off x="7372014"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Points</a:t>
            </a:r>
          </a:p>
          <a:p>
            <a:pPr algn="ctr" eaLnBrk="0" hangingPunct="0"/>
            <a:r>
              <a:rPr lang="en-US" sz="2400" dirty="0">
                <a:solidFill>
                  <a:schemeClr val="bg1"/>
                </a:solidFill>
                <a:sym typeface="Trebuchet MS" panose="020B0603020202020204" pitchFamily="34" charset="0"/>
              </a:rPr>
              <a:t>Earned</a:t>
            </a:r>
          </a:p>
        </p:txBody>
      </p:sp>
      <p:sp>
        <p:nvSpPr>
          <p:cNvPr id="6" name="ee4pHeader5">
            <a:extLst>
              <a:ext uri="{FF2B5EF4-FFF2-40B4-BE49-F238E27FC236}">
                <a16:creationId xmlns:a16="http://schemas.microsoft.com/office/drawing/2014/main" id="{AEE87A08-7A12-45FA-8426-BCF8ACC55CA9}"/>
              </a:ext>
            </a:extLst>
          </p:cNvPr>
          <p:cNvSpPr>
            <a:spLocks noChangeArrowheads="1"/>
          </p:cNvSpPr>
          <p:nvPr>
            <p:custDataLst>
              <p:tags r:id="rId9"/>
            </p:custDataLst>
          </p:nvPr>
        </p:nvSpPr>
        <p:spPr bwMode="gray">
          <a:xfrm>
            <a:off x="9619350"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Year-end Ranking</a:t>
            </a:r>
          </a:p>
        </p:txBody>
      </p:sp>
      <p:sp>
        <p:nvSpPr>
          <p:cNvPr id="7" name="ee4pContent1">
            <a:extLst>
              <a:ext uri="{FF2B5EF4-FFF2-40B4-BE49-F238E27FC236}">
                <a16:creationId xmlns:a16="http://schemas.microsoft.com/office/drawing/2014/main" id="{128A23B4-F59B-4521-83D5-61A5D72372CA}"/>
              </a:ext>
            </a:extLst>
          </p:cNvPr>
          <p:cNvSpPr txBox="1"/>
          <p:nvPr/>
        </p:nvSpPr>
        <p:spPr>
          <a:xfrm>
            <a:off x="630000" y="3247200"/>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solidFill>
                  <a:schemeClr val="tx1">
                    <a:alpha val="35000"/>
                  </a:schemeClr>
                </a:solidFill>
                <a:latin typeface="+mn-lt"/>
              </a:rPr>
              <a:t>Conference submit schedule</a:t>
            </a:r>
          </a:p>
          <a:p>
            <a:endParaRPr lang="en-US" dirty="0">
              <a:solidFill>
                <a:schemeClr val="tx1">
                  <a:alpha val="35000"/>
                </a:schemeClr>
              </a:solidFill>
              <a:latin typeface="+mn-lt"/>
            </a:endParaRPr>
          </a:p>
          <a:p>
            <a:r>
              <a:rPr lang="en-US" dirty="0">
                <a:solidFill>
                  <a:schemeClr val="tx1">
                    <a:alpha val="35000"/>
                  </a:schemeClr>
                </a:solidFill>
                <a:latin typeface="+mn-lt"/>
              </a:rPr>
              <a:t>Recommend grading for events</a:t>
            </a:r>
          </a:p>
        </p:txBody>
      </p:sp>
      <p:sp>
        <p:nvSpPr>
          <p:cNvPr id="8" name="ee4pContent2">
            <a:extLst>
              <a:ext uri="{FF2B5EF4-FFF2-40B4-BE49-F238E27FC236}">
                <a16:creationId xmlns:a16="http://schemas.microsoft.com/office/drawing/2014/main" id="{F9770E61-593D-46EE-8DE5-634DBAB1D210}"/>
              </a:ext>
            </a:extLst>
          </p:cNvPr>
          <p:cNvSpPr txBox="1"/>
          <p:nvPr/>
        </p:nvSpPr>
        <p:spPr>
          <a:xfrm>
            <a:off x="2877337" y="3247201"/>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Championship committee reviews</a:t>
            </a:r>
          </a:p>
          <a:p>
            <a:endParaRPr lang="en-US" dirty="0">
              <a:latin typeface="+mn-lt"/>
            </a:endParaRPr>
          </a:p>
          <a:p>
            <a:r>
              <a:rPr lang="en-US" dirty="0">
                <a:latin typeface="+mn-lt"/>
              </a:rPr>
              <a:t>Releases grading for all events</a:t>
            </a:r>
          </a:p>
        </p:txBody>
      </p:sp>
      <p:sp>
        <p:nvSpPr>
          <p:cNvPr id="12" name="Title 11">
            <a:extLst>
              <a:ext uri="{FF2B5EF4-FFF2-40B4-BE49-F238E27FC236}">
                <a16:creationId xmlns:a16="http://schemas.microsoft.com/office/drawing/2014/main" id="{08296290-F8EE-4524-8CE6-B1D690669BB7}"/>
              </a:ext>
            </a:extLst>
          </p:cNvPr>
          <p:cNvSpPr>
            <a:spLocks noGrp="1"/>
          </p:cNvSpPr>
          <p:nvPr>
            <p:ph type="title"/>
          </p:nvPr>
        </p:nvSpPr>
        <p:spPr/>
        <p:txBody>
          <a:bodyPr/>
          <a:lstStyle/>
          <a:p>
            <a:r>
              <a:rPr lang="en-US" dirty="0"/>
              <a:t>Events are graded to reflect relative difficulty</a:t>
            </a:r>
          </a:p>
        </p:txBody>
      </p:sp>
    </p:spTree>
    <p:custDataLst>
      <p:tags r:id="rId2"/>
    </p:custDataLst>
    <p:extLst>
      <p:ext uri="{BB962C8B-B14F-4D97-AF65-F5344CB8AC3E}">
        <p14:creationId xmlns:p14="http://schemas.microsoft.com/office/powerpoint/2010/main" val="3083271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CAD837C-4EAD-4B41-B376-8F9F1035E0B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70" name="think-cell Slide" r:id="rId12" imgW="395" imgH="396" progId="TCLayout.ActiveDocument.1">
                  <p:embed/>
                </p:oleObj>
              </mc:Choice>
              <mc:Fallback>
                <p:oleObj name="think-cell Slide" r:id="rId12" imgW="395" imgH="396" progId="TCLayout.ActiveDocument.1">
                  <p:embed/>
                  <p:pic>
                    <p:nvPicPr>
                      <p:cNvPr id="13" name="Object 12" hidden="1">
                        <a:extLst>
                          <a:ext uri="{FF2B5EF4-FFF2-40B4-BE49-F238E27FC236}">
                            <a16:creationId xmlns:a16="http://schemas.microsoft.com/office/drawing/2014/main" id="{3CAD837C-4EAD-4B41-B376-8F9F1035E0B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F00F5969-6F14-401D-BA85-DAA9FBE165DD}"/>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ee4pHeader1">
            <a:extLst>
              <a:ext uri="{FF2B5EF4-FFF2-40B4-BE49-F238E27FC236}">
                <a16:creationId xmlns:a16="http://schemas.microsoft.com/office/drawing/2014/main" id="{B3300F61-D7CF-49A8-8C58-005B1D2225F7}"/>
              </a:ext>
            </a:extLst>
          </p:cNvPr>
          <p:cNvSpPr>
            <a:spLocks noChangeArrowheads="1"/>
          </p:cNvSpPr>
          <p:nvPr>
            <p:custDataLst>
              <p:tags r:id="rId5"/>
            </p:custDataLst>
          </p:nvPr>
        </p:nvSpPr>
        <p:spPr bwMode="gray">
          <a:xfrm>
            <a:off x="630000" y="2080800"/>
            <a:ext cx="2232000" cy="874800"/>
          </a:xfrm>
          <a:prstGeom prst="homePlate">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Conference Submission              </a:t>
            </a:r>
          </a:p>
        </p:txBody>
      </p:sp>
      <p:sp>
        <p:nvSpPr>
          <p:cNvPr id="3" name="ee4pHeader2">
            <a:extLst>
              <a:ext uri="{FF2B5EF4-FFF2-40B4-BE49-F238E27FC236}">
                <a16:creationId xmlns:a16="http://schemas.microsoft.com/office/drawing/2014/main" id="{71546A3F-06CF-419B-B555-34647C61DE14}"/>
              </a:ext>
            </a:extLst>
          </p:cNvPr>
          <p:cNvSpPr>
            <a:spLocks noChangeArrowheads="1"/>
          </p:cNvSpPr>
          <p:nvPr>
            <p:custDataLst>
              <p:tags r:id="rId6"/>
            </p:custDataLst>
          </p:nvPr>
        </p:nvSpPr>
        <p:spPr bwMode="gray">
          <a:xfrm>
            <a:off x="2877338"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Grading Release</a:t>
            </a:r>
          </a:p>
        </p:txBody>
      </p:sp>
      <p:sp>
        <p:nvSpPr>
          <p:cNvPr id="4" name="ee4pHeader3">
            <a:extLst>
              <a:ext uri="{FF2B5EF4-FFF2-40B4-BE49-F238E27FC236}">
                <a16:creationId xmlns:a16="http://schemas.microsoft.com/office/drawing/2014/main" id="{C562F51F-56F5-4E2F-8699-0287707591F3}"/>
              </a:ext>
            </a:extLst>
          </p:cNvPr>
          <p:cNvSpPr>
            <a:spLocks noChangeArrowheads="1"/>
          </p:cNvSpPr>
          <p:nvPr>
            <p:custDataLst>
              <p:tags r:id="rId7"/>
            </p:custDataLst>
          </p:nvPr>
        </p:nvSpPr>
        <p:spPr bwMode="gray">
          <a:xfrm>
            <a:off x="5124676"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Event Scheduling</a:t>
            </a:r>
          </a:p>
        </p:txBody>
      </p:sp>
      <p:sp>
        <p:nvSpPr>
          <p:cNvPr id="5" name="ee4pHeader4">
            <a:extLst>
              <a:ext uri="{FF2B5EF4-FFF2-40B4-BE49-F238E27FC236}">
                <a16:creationId xmlns:a16="http://schemas.microsoft.com/office/drawing/2014/main" id="{2EDDD957-683B-4988-AAD0-217BE64C03DD}"/>
              </a:ext>
            </a:extLst>
          </p:cNvPr>
          <p:cNvSpPr>
            <a:spLocks noChangeArrowheads="1"/>
          </p:cNvSpPr>
          <p:nvPr>
            <p:custDataLst>
              <p:tags r:id="rId8"/>
            </p:custDataLst>
          </p:nvPr>
        </p:nvSpPr>
        <p:spPr bwMode="gray">
          <a:xfrm>
            <a:off x="7372014"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Points</a:t>
            </a:r>
          </a:p>
          <a:p>
            <a:pPr algn="ctr" eaLnBrk="0" hangingPunct="0"/>
            <a:r>
              <a:rPr lang="en-US" sz="2400" dirty="0">
                <a:solidFill>
                  <a:schemeClr val="bg1"/>
                </a:solidFill>
                <a:sym typeface="Trebuchet MS" panose="020B0603020202020204" pitchFamily="34" charset="0"/>
              </a:rPr>
              <a:t>Earned</a:t>
            </a:r>
          </a:p>
        </p:txBody>
      </p:sp>
      <p:sp>
        <p:nvSpPr>
          <p:cNvPr id="6" name="ee4pHeader5">
            <a:extLst>
              <a:ext uri="{FF2B5EF4-FFF2-40B4-BE49-F238E27FC236}">
                <a16:creationId xmlns:a16="http://schemas.microsoft.com/office/drawing/2014/main" id="{AEE87A08-7A12-45FA-8426-BCF8ACC55CA9}"/>
              </a:ext>
            </a:extLst>
          </p:cNvPr>
          <p:cNvSpPr>
            <a:spLocks noChangeArrowheads="1"/>
          </p:cNvSpPr>
          <p:nvPr>
            <p:custDataLst>
              <p:tags r:id="rId9"/>
            </p:custDataLst>
          </p:nvPr>
        </p:nvSpPr>
        <p:spPr bwMode="gray">
          <a:xfrm>
            <a:off x="9619350"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Year-end Ranking</a:t>
            </a:r>
          </a:p>
        </p:txBody>
      </p:sp>
      <p:sp>
        <p:nvSpPr>
          <p:cNvPr id="7" name="ee4pContent1">
            <a:extLst>
              <a:ext uri="{FF2B5EF4-FFF2-40B4-BE49-F238E27FC236}">
                <a16:creationId xmlns:a16="http://schemas.microsoft.com/office/drawing/2014/main" id="{128A23B4-F59B-4521-83D5-61A5D72372CA}"/>
              </a:ext>
            </a:extLst>
          </p:cNvPr>
          <p:cNvSpPr txBox="1"/>
          <p:nvPr/>
        </p:nvSpPr>
        <p:spPr>
          <a:xfrm>
            <a:off x="630000" y="3247200"/>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solidFill>
                  <a:schemeClr val="tx1">
                    <a:alpha val="35000"/>
                  </a:schemeClr>
                </a:solidFill>
                <a:latin typeface="+mn-lt"/>
              </a:rPr>
              <a:t>Conference submit schedule</a:t>
            </a:r>
          </a:p>
          <a:p>
            <a:endParaRPr lang="en-US" dirty="0">
              <a:solidFill>
                <a:schemeClr val="tx1">
                  <a:alpha val="35000"/>
                </a:schemeClr>
              </a:solidFill>
              <a:latin typeface="+mn-lt"/>
            </a:endParaRPr>
          </a:p>
          <a:p>
            <a:r>
              <a:rPr lang="en-US" dirty="0">
                <a:solidFill>
                  <a:schemeClr val="tx1">
                    <a:alpha val="35000"/>
                  </a:schemeClr>
                </a:solidFill>
                <a:latin typeface="+mn-lt"/>
              </a:rPr>
              <a:t>Recommend grading for events</a:t>
            </a:r>
          </a:p>
        </p:txBody>
      </p:sp>
      <p:sp>
        <p:nvSpPr>
          <p:cNvPr id="8" name="ee4pContent2">
            <a:extLst>
              <a:ext uri="{FF2B5EF4-FFF2-40B4-BE49-F238E27FC236}">
                <a16:creationId xmlns:a16="http://schemas.microsoft.com/office/drawing/2014/main" id="{F9770E61-593D-46EE-8DE5-634DBAB1D210}"/>
              </a:ext>
            </a:extLst>
          </p:cNvPr>
          <p:cNvSpPr txBox="1"/>
          <p:nvPr/>
        </p:nvSpPr>
        <p:spPr>
          <a:xfrm>
            <a:off x="2877337" y="3247201"/>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solidFill>
                  <a:schemeClr val="tx1">
                    <a:alpha val="35000"/>
                  </a:schemeClr>
                </a:solidFill>
                <a:latin typeface="+mn-lt"/>
              </a:rPr>
              <a:t>Championship committee reviews</a:t>
            </a:r>
          </a:p>
          <a:p>
            <a:endParaRPr lang="en-US" dirty="0">
              <a:solidFill>
                <a:schemeClr val="tx1">
                  <a:alpha val="35000"/>
                </a:schemeClr>
              </a:solidFill>
              <a:latin typeface="+mn-lt"/>
            </a:endParaRPr>
          </a:p>
          <a:p>
            <a:r>
              <a:rPr lang="en-US" dirty="0">
                <a:solidFill>
                  <a:schemeClr val="tx1">
                    <a:alpha val="35000"/>
                  </a:schemeClr>
                </a:solidFill>
                <a:latin typeface="+mn-lt"/>
              </a:rPr>
              <a:t>Releases grading for all events</a:t>
            </a:r>
          </a:p>
        </p:txBody>
      </p:sp>
      <p:sp>
        <p:nvSpPr>
          <p:cNvPr id="9" name="ee4pContent3">
            <a:extLst>
              <a:ext uri="{FF2B5EF4-FFF2-40B4-BE49-F238E27FC236}">
                <a16:creationId xmlns:a16="http://schemas.microsoft.com/office/drawing/2014/main" id="{0C162B21-7A0F-4381-9B5C-7C598E584CCF}"/>
              </a:ext>
            </a:extLst>
          </p:cNvPr>
          <p:cNvSpPr txBox="1"/>
          <p:nvPr/>
        </p:nvSpPr>
        <p:spPr>
          <a:xfrm>
            <a:off x="5124674" y="3247200"/>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Team schedule events</a:t>
            </a:r>
          </a:p>
          <a:p>
            <a:endParaRPr lang="en-US" dirty="0">
              <a:latin typeface="+mn-lt"/>
            </a:endParaRPr>
          </a:p>
          <a:p>
            <a:r>
              <a:rPr lang="en-US" dirty="0">
                <a:latin typeface="+mn-lt"/>
              </a:rPr>
              <a:t>Full knowledge of ranking value</a:t>
            </a:r>
          </a:p>
        </p:txBody>
      </p:sp>
      <p:sp>
        <p:nvSpPr>
          <p:cNvPr id="12" name="Title 11">
            <a:extLst>
              <a:ext uri="{FF2B5EF4-FFF2-40B4-BE49-F238E27FC236}">
                <a16:creationId xmlns:a16="http://schemas.microsoft.com/office/drawing/2014/main" id="{08296290-F8EE-4524-8CE6-B1D690669BB7}"/>
              </a:ext>
            </a:extLst>
          </p:cNvPr>
          <p:cNvSpPr>
            <a:spLocks noGrp="1"/>
          </p:cNvSpPr>
          <p:nvPr>
            <p:ph type="title"/>
          </p:nvPr>
        </p:nvSpPr>
        <p:spPr/>
        <p:txBody>
          <a:bodyPr/>
          <a:lstStyle/>
          <a:p>
            <a:r>
              <a:rPr lang="en-US" dirty="0"/>
              <a:t>Events are graded to reflect relative difficulty</a:t>
            </a:r>
          </a:p>
        </p:txBody>
      </p:sp>
    </p:spTree>
    <p:custDataLst>
      <p:tags r:id="rId2"/>
    </p:custDataLst>
    <p:extLst>
      <p:ext uri="{BB962C8B-B14F-4D97-AF65-F5344CB8AC3E}">
        <p14:creationId xmlns:p14="http://schemas.microsoft.com/office/powerpoint/2010/main" val="286655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CAD837C-4EAD-4B41-B376-8F9F1035E0B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4" name="think-cell Slide" r:id="rId12" imgW="395" imgH="396" progId="TCLayout.ActiveDocument.1">
                  <p:embed/>
                </p:oleObj>
              </mc:Choice>
              <mc:Fallback>
                <p:oleObj name="think-cell Slide" r:id="rId12" imgW="395" imgH="396" progId="TCLayout.ActiveDocument.1">
                  <p:embed/>
                  <p:pic>
                    <p:nvPicPr>
                      <p:cNvPr id="13" name="Object 12" hidden="1">
                        <a:extLst>
                          <a:ext uri="{FF2B5EF4-FFF2-40B4-BE49-F238E27FC236}">
                            <a16:creationId xmlns:a16="http://schemas.microsoft.com/office/drawing/2014/main" id="{3CAD837C-4EAD-4B41-B376-8F9F1035E0B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F00F5969-6F14-401D-BA85-DAA9FBE165DD}"/>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ee4pHeader1">
            <a:extLst>
              <a:ext uri="{FF2B5EF4-FFF2-40B4-BE49-F238E27FC236}">
                <a16:creationId xmlns:a16="http://schemas.microsoft.com/office/drawing/2014/main" id="{B3300F61-D7CF-49A8-8C58-005B1D2225F7}"/>
              </a:ext>
            </a:extLst>
          </p:cNvPr>
          <p:cNvSpPr>
            <a:spLocks noChangeArrowheads="1"/>
          </p:cNvSpPr>
          <p:nvPr>
            <p:custDataLst>
              <p:tags r:id="rId5"/>
            </p:custDataLst>
          </p:nvPr>
        </p:nvSpPr>
        <p:spPr bwMode="gray">
          <a:xfrm>
            <a:off x="630000" y="2080800"/>
            <a:ext cx="2232000" cy="874800"/>
          </a:xfrm>
          <a:prstGeom prst="homePlate">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Conference Submission              </a:t>
            </a:r>
          </a:p>
        </p:txBody>
      </p:sp>
      <p:sp>
        <p:nvSpPr>
          <p:cNvPr id="3" name="ee4pHeader2">
            <a:extLst>
              <a:ext uri="{FF2B5EF4-FFF2-40B4-BE49-F238E27FC236}">
                <a16:creationId xmlns:a16="http://schemas.microsoft.com/office/drawing/2014/main" id="{71546A3F-06CF-419B-B555-34647C61DE14}"/>
              </a:ext>
            </a:extLst>
          </p:cNvPr>
          <p:cNvSpPr>
            <a:spLocks noChangeArrowheads="1"/>
          </p:cNvSpPr>
          <p:nvPr>
            <p:custDataLst>
              <p:tags r:id="rId6"/>
            </p:custDataLst>
          </p:nvPr>
        </p:nvSpPr>
        <p:spPr bwMode="gray">
          <a:xfrm>
            <a:off x="2877338"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Grading Release</a:t>
            </a:r>
          </a:p>
        </p:txBody>
      </p:sp>
      <p:sp>
        <p:nvSpPr>
          <p:cNvPr id="4" name="ee4pHeader3">
            <a:extLst>
              <a:ext uri="{FF2B5EF4-FFF2-40B4-BE49-F238E27FC236}">
                <a16:creationId xmlns:a16="http://schemas.microsoft.com/office/drawing/2014/main" id="{C562F51F-56F5-4E2F-8699-0287707591F3}"/>
              </a:ext>
            </a:extLst>
          </p:cNvPr>
          <p:cNvSpPr>
            <a:spLocks noChangeArrowheads="1"/>
          </p:cNvSpPr>
          <p:nvPr>
            <p:custDataLst>
              <p:tags r:id="rId7"/>
            </p:custDataLst>
          </p:nvPr>
        </p:nvSpPr>
        <p:spPr bwMode="gray">
          <a:xfrm>
            <a:off x="5124676"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Event Scheduling</a:t>
            </a:r>
          </a:p>
        </p:txBody>
      </p:sp>
      <p:sp>
        <p:nvSpPr>
          <p:cNvPr id="5" name="ee4pHeader4">
            <a:extLst>
              <a:ext uri="{FF2B5EF4-FFF2-40B4-BE49-F238E27FC236}">
                <a16:creationId xmlns:a16="http://schemas.microsoft.com/office/drawing/2014/main" id="{2EDDD957-683B-4988-AAD0-217BE64C03DD}"/>
              </a:ext>
            </a:extLst>
          </p:cNvPr>
          <p:cNvSpPr>
            <a:spLocks noChangeArrowheads="1"/>
          </p:cNvSpPr>
          <p:nvPr>
            <p:custDataLst>
              <p:tags r:id="rId8"/>
            </p:custDataLst>
          </p:nvPr>
        </p:nvSpPr>
        <p:spPr bwMode="gray">
          <a:xfrm>
            <a:off x="7372014"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Points</a:t>
            </a:r>
          </a:p>
          <a:p>
            <a:pPr algn="ctr" eaLnBrk="0" hangingPunct="0"/>
            <a:r>
              <a:rPr lang="en-US" sz="2400" dirty="0">
                <a:solidFill>
                  <a:schemeClr val="bg1"/>
                </a:solidFill>
                <a:sym typeface="Trebuchet MS" panose="020B0603020202020204" pitchFamily="34" charset="0"/>
              </a:rPr>
              <a:t>Earned</a:t>
            </a:r>
          </a:p>
        </p:txBody>
      </p:sp>
      <p:sp>
        <p:nvSpPr>
          <p:cNvPr id="6" name="ee4pHeader5">
            <a:extLst>
              <a:ext uri="{FF2B5EF4-FFF2-40B4-BE49-F238E27FC236}">
                <a16:creationId xmlns:a16="http://schemas.microsoft.com/office/drawing/2014/main" id="{AEE87A08-7A12-45FA-8426-BCF8ACC55CA9}"/>
              </a:ext>
            </a:extLst>
          </p:cNvPr>
          <p:cNvSpPr>
            <a:spLocks noChangeArrowheads="1"/>
          </p:cNvSpPr>
          <p:nvPr>
            <p:custDataLst>
              <p:tags r:id="rId9"/>
            </p:custDataLst>
          </p:nvPr>
        </p:nvSpPr>
        <p:spPr bwMode="gray">
          <a:xfrm>
            <a:off x="9619350" y="2080800"/>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chemeClr val="bg1"/>
                </a:solidFill>
                <a:sym typeface="Trebuchet MS" panose="020B0603020202020204" pitchFamily="34" charset="0"/>
              </a:rPr>
              <a:t>Year-end Ranking</a:t>
            </a:r>
          </a:p>
        </p:txBody>
      </p:sp>
      <p:sp>
        <p:nvSpPr>
          <p:cNvPr id="7" name="ee4pContent1">
            <a:extLst>
              <a:ext uri="{FF2B5EF4-FFF2-40B4-BE49-F238E27FC236}">
                <a16:creationId xmlns:a16="http://schemas.microsoft.com/office/drawing/2014/main" id="{128A23B4-F59B-4521-83D5-61A5D72372CA}"/>
              </a:ext>
            </a:extLst>
          </p:cNvPr>
          <p:cNvSpPr txBox="1"/>
          <p:nvPr/>
        </p:nvSpPr>
        <p:spPr>
          <a:xfrm>
            <a:off x="630000" y="3247200"/>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solidFill>
                  <a:schemeClr val="tx1">
                    <a:alpha val="35000"/>
                  </a:schemeClr>
                </a:solidFill>
                <a:latin typeface="+mn-lt"/>
              </a:rPr>
              <a:t>Conference submit schedule</a:t>
            </a:r>
          </a:p>
          <a:p>
            <a:endParaRPr lang="en-US" dirty="0">
              <a:solidFill>
                <a:schemeClr val="tx1">
                  <a:alpha val="35000"/>
                </a:schemeClr>
              </a:solidFill>
              <a:latin typeface="+mn-lt"/>
            </a:endParaRPr>
          </a:p>
          <a:p>
            <a:r>
              <a:rPr lang="en-US" dirty="0">
                <a:solidFill>
                  <a:schemeClr val="tx1">
                    <a:alpha val="35000"/>
                  </a:schemeClr>
                </a:solidFill>
                <a:latin typeface="+mn-lt"/>
              </a:rPr>
              <a:t>Recommend grading for events</a:t>
            </a:r>
          </a:p>
        </p:txBody>
      </p:sp>
      <p:sp>
        <p:nvSpPr>
          <p:cNvPr id="8" name="ee4pContent2">
            <a:extLst>
              <a:ext uri="{FF2B5EF4-FFF2-40B4-BE49-F238E27FC236}">
                <a16:creationId xmlns:a16="http://schemas.microsoft.com/office/drawing/2014/main" id="{F9770E61-593D-46EE-8DE5-634DBAB1D210}"/>
              </a:ext>
            </a:extLst>
          </p:cNvPr>
          <p:cNvSpPr txBox="1"/>
          <p:nvPr/>
        </p:nvSpPr>
        <p:spPr>
          <a:xfrm>
            <a:off x="2877337" y="3247201"/>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solidFill>
                  <a:schemeClr val="tx1">
                    <a:alpha val="35000"/>
                  </a:schemeClr>
                </a:solidFill>
                <a:latin typeface="+mn-lt"/>
              </a:rPr>
              <a:t>Championship committee reviews</a:t>
            </a:r>
          </a:p>
          <a:p>
            <a:endParaRPr lang="en-US" dirty="0">
              <a:solidFill>
                <a:schemeClr val="tx1">
                  <a:alpha val="35000"/>
                </a:schemeClr>
              </a:solidFill>
              <a:latin typeface="+mn-lt"/>
            </a:endParaRPr>
          </a:p>
          <a:p>
            <a:r>
              <a:rPr lang="en-US" dirty="0">
                <a:solidFill>
                  <a:schemeClr val="tx1">
                    <a:alpha val="35000"/>
                  </a:schemeClr>
                </a:solidFill>
                <a:latin typeface="+mn-lt"/>
              </a:rPr>
              <a:t>Releases grading for all events</a:t>
            </a:r>
          </a:p>
        </p:txBody>
      </p:sp>
      <p:sp>
        <p:nvSpPr>
          <p:cNvPr id="9" name="ee4pContent3">
            <a:extLst>
              <a:ext uri="{FF2B5EF4-FFF2-40B4-BE49-F238E27FC236}">
                <a16:creationId xmlns:a16="http://schemas.microsoft.com/office/drawing/2014/main" id="{0C162B21-7A0F-4381-9B5C-7C598E584CCF}"/>
              </a:ext>
            </a:extLst>
          </p:cNvPr>
          <p:cNvSpPr txBox="1"/>
          <p:nvPr/>
        </p:nvSpPr>
        <p:spPr>
          <a:xfrm>
            <a:off x="5124674" y="3247200"/>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solidFill>
                  <a:schemeClr val="tx1">
                    <a:alpha val="35000"/>
                  </a:schemeClr>
                </a:solidFill>
                <a:latin typeface="+mn-lt"/>
              </a:rPr>
              <a:t>Team schedule events</a:t>
            </a:r>
          </a:p>
          <a:p>
            <a:endParaRPr lang="en-US" dirty="0">
              <a:solidFill>
                <a:schemeClr val="tx1">
                  <a:alpha val="35000"/>
                </a:schemeClr>
              </a:solidFill>
              <a:latin typeface="+mn-lt"/>
            </a:endParaRPr>
          </a:p>
          <a:p>
            <a:r>
              <a:rPr lang="en-US" dirty="0">
                <a:solidFill>
                  <a:schemeClr val="tx1">
                    <a:alpha val="35000"/>
                  </a:schemeClr>
                </a:solidFill>
                <a:latin typeface="+mn-lt"/>
              </a:rPr>
              <a:t>Full knowledge of ranking value</a:t>
            </a:r>
          </a:p>
        </p:txBody>
      </p:sp>
      <p:sp>
        <p:nvSpPr>
          <p:cNvPr id="10" name="ee4pContent4">
            <a:extLst>
              <a:ext uri="{FF2B5EF4-FFF2-40B4-BE49-F238E27FC236}">
                <a16:creationId xmlns:a16="http://schemas.microsoft.com/office/drawing/2014/main" id="{87DA66D4-E4A3-4D75-A2D3-37BDD298F9EA}"/>
              </a:ext>
            </a:extLst>
          </p:cNvPr>
          <p:cNvSpPr txBox="1"/>
          <p:nvPr/>
        </p:nvSpPr>
        <p:spPr>
          <a:xfrm>
            <a:off x="7372011" y="3247200"/>
            <a:ext cx="1944000" cy="262000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Points awarded for each event</a:t>
            </a:r>
          </a:p>
          <a:p>
            <a:endParaRPr lang="en-US" dirty="0">
              <a:latin typeface="+mn-lt"/>
            </a:endParaRPr>
          </a:p>
          <a:p>
            <a:r>
              <a:rPr lang="en-US" dirty="0">
                <a:latin typeface="+mn-lt"/>
              </a:rPr>
              <a:t>Based on finishing place and event grade</a:t>
            </a:r>
          </a:p>
        </p:txBody>
      </p:sp>
      <p:sp>
        <p:nvSpPr>
          <p:cNvPr id="12" name="Title 11">
            <a:extLst>
              <a:ext uri="{FF2B5EF4-FFF2-40B4-BE49-F238E27FC236}">
                <a16:creationId xmlns:a16="http://schemas.microsoft.com/office/drawing/2014/main" id="{08296290-F8EE-4524-8CE6-B1D690669BB7}"/>
              </a:ext>
            </a:extLst>
          </p:cNvPr>
          <p:cNvSpPr>
            <a:spLocks noGrp="1"/>
          </p:cNvSpPr>
          <p:nvPr>
            <p:ph type="title"/>
          </p:nvPr>
        </p:nvSpPr>
        <p:spPr/>
        <p:txBody>
          <a:bodyPr/>
          <a:lstStyle/>
          <a:p>
            <a:r>
              <a:rPr lang="en-US" dirty="0"/>
              <a:t>Events are graded to reflect relative difficulty</a:t>
            </a:r>
          </a:p>
        </p:txBody>
      </p:sp>
    </p:spTree>
    <p:custDataLst>
      <p:tags r:id="rId2"/>
    </p:custDataLst>
    <p:extLst>
      <p:ext uri="{BB962C8B-B14F-4D97-AF65-F5344CB8AC3E}">
        <p14:creationId xmlns:p14="http://schemas.microsoft.com/office/powerpoint/2010/main" val="335107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THINKCELLUNDODONOTDELETE" val="0"/>
  <p:tag name="EE4P_MASTERWIZARD_MARGINS"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BCG_MODE" val="Presentation"/>
  <p:tag name="BCG_DESIGN" val="Blank"/>
  <p:tag name="EE4P_LAYOUT_ID" val="K"/>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Ff_j1gUrJw4eSEQtFuHSQ"/>
</p:tagLst>
</file>

<file path=ppt/tags/tag103.xml><?xml version="1.0" encoding="utf-8"?>
<p:tagLst xmlns:a="http://schemas.openxmlformats.org/drawingml/2006/main" xmlns:r="http://schemas.openxmlformats.org/officeDocument/2006/relationships" xmlns:p="http://schemas.openxmlformats.org/presentationml/2006/main">
  <p:tag name="BCG_MODE" val="Presentation"/>
  <p:tag name="BCG_DESIGN" val="Two third"/>
  <p:tag name="EE4P_STRETCH" val="1"/>
  <p:tag name="EE4P_LAYOUT_ID" val="K"/>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2wFiKDsHxjz4qEI7cqDw"/>
</p:tagLst>
</file>

<file path=ppt/tags/tag106.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uZyfIZR0drN_VshQ38UPg"/>
</p:tagLst>
</file>

<file path=ppt/tags/tag109.xml><?xml version="1.0" encoding="utf-8"?>
<p:tagLst xmlns:a="http://schemas.openxmlformats.org/drawingml/2006/main" xmlns:r="http://schemas.openxmlformats.org/officeDocument/2006/relationships" xmlns:p="http://schemas.openxmlformats.org/presentationml/2006/main">
  <p:tag name="BCG_MODE" val="Presentation"/>
  <p:tag name="BCG_DESIGN" val="Green half"/>
  <p:tag name="EE4P_LAYOUT_ID" val="K"/>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lxPn7nAC3oOGqSzkRgpeA"/>
</p:tagLst>
</file>

<file path=ppt/tags/tag112.xml><?xml version="1.0" encoding="utf-8"?>
<p:tagLst xmlns:a="http://schemas.openxmlformats.org/drawingml/2006/main" xmlns:r="http://schemas.openxmlformats.org/officeDocument/2006/relationships" xmlns:p="http://schemas.openxmlformats.org/presentationml/2006/main">
  <p:tag name="BCG_MODE" val="Presentation"/>
  <p:tag name="BCG_DESIGN" val="Two heading"/>
  <p:tag name="EE4P_STRETCH" val="1"/>
  <p:tag name="EE4P_LAYOUT_ID" val="K"/>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ZkBCkd7jeRGrXdtDze8uQ"/>
</p:tagLst>
</file>

<file path=ppt/tags/tag115.xml><?xml version="1.0" encoding="utf-8"?>
<p:tagLst xmlns:a="http://schemas.openxmlformats.org/drawingml/2006/main" xmlns:r="http://schemas.openxmlformats.org/officeDocument/2006/relationships" xmlns:p="http://schemas.openxmlformats.org/presentationml/2006/main">
  <p:tag name="BCG_MODE" val="Presentation"/>
  <p:tag name="BCG_DESIGN" val="Two heading"/>
  <p:tag name="EE4P_STRETCH" val="1"/>
  <p:tag name="EE4P_LAYOUT_ID" val="K"/>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9zlqDKLmHAIbtaSHM0Mmw"/>
</p:tagLst>
</file>

<file path=ppt/tags/tag118.xml><?xml version="1.0" encoding="utf-8"?>
<p:tagLst xmlns:a="http://schemas.openxmlformats.org/drawingml/2006/main" xmlns:r="http://schemas.openxmlformats.org/officeDocument/2006/relationships" xmlns:p="http://schemas.openxmlformats.org/presentationml/2006/main">
  <p:tag name="BCG_MODE" val="Presentation"/>
  <p:tag name="BCG_DESIGN" val="Two heading"/>
  <p:tag name="EE4P_STRETCH" val="1"/>
  <p:tag name="EE4P_LAYOUT_ID" val="K"/>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9zlqDKLmHAIbtaSHM0Mmw"/>
</p:tagLst>
</file>

<file path=ppt/tags/tag121.xml><?xml version="1.0" encoding="utf-8"?>
<p:tagLst xmlns:a="http://schemas.openxmlformats.org/drawingml/2006/main" xmlns:r="http://schemas.openxmlformats.org/officeDocument/2006/relationships" xmlns:p="http://schemas.openxmlformats.org/presentationml/2006/main">
  <p:tag name="BCG_MODE" val="Presentation"/>
  <p:tag name="BCG_DESIGN" val="Two heading"/>
  <p:tag name="EE4P_STRETCH" val="1"/>
  <p:tag name="EE4P_LAYOUT_ID" val="K"/>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9zlqDKLmHAIbtaSHM0Mm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ritveRvRYn7NTqRaBxj9Q"/>
</p:tagLst>
</file>

<file path=ppt/tags/tag126.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D3lnZOPjoewbbrgiDhK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BCG_MODE" val="Presentation"/>
  <p:tag name="BCG_DESIGN" val="Green half"/>
  <p:tag name="EE4P_LAYOUT_ID" val="K"/>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3YDfhJTSKhzINHeo075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V7hfAlZil3Yzo2.BaX4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39.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2.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3uQljzTdluJSPM5U8HKlA"/>
</p:tagLst>
</file>

<file path=ppt/tags/tag45.xml><?xml version="1.0" encoding="utf-8"?>
<p:tagLst xmlns:a="http://schemas.openxmlformats.org/drawingml/2006/main" xmlns:r="http://schemas.openxmlformats.org/officeDocument/2006/relationships" xmlns:p="http://schemas.openxmlformats.org/presentationml/2006/main">
  <p:tag name="BCG_MODE" val="Presentation"/>
  <p:tag name="BCG_DESIGN" val="Gray slice heading"/>
  <p:tag name="EE4P_LAYOUT_ID" val="K"/>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sVuBkBTW51QhnPs3mILbQ"/>
</p:tagLst>
</file>

<file path=ppt/tags/tag48.xml><?xml version="1.0" encoding="utf-8"?>
<p:tagLst xmlns:a="http://schemas.openxmlformats.org/drawingml/2006/main" xmlns:r="http://schemas.openxmlformats.org/officeDocument/2006/relationships" xmlns:p="http://schemas.openxmlformats.org/presentationml/2006/main">
  <p:tag name="BCG_MODE" val="Presentation"/>
  <p:tag name="BCG_DESIGN" val="Blank"/>
  <p:tag name="EE4P_LAYOUT_ID" val="K"/>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S.Cn6MCewJt0.TWjGPNgw"/>
</p:tagLst>
</file>

<file path=ppt/tags/tag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6.xml><?xml version="1.0" encoding="utf-8"?>
<p:tagLst xmlns:a="http://schemas.openxmlformats.org/drawingml/2006/main" xmlns:r="http://schemas.openxmlformats.org/officeDocument/2006/relationships" xmlns:p="http://schemas.openxmlformats.org/presentationml/2006/main">
  <p:tag name="BCG_MODE" val="Presentation"/>
  <p:tag name="BCG_DESIGN" val="Blank"/>
  <p:tag name="EE4P_LAYOUT_ID" val="K"/>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S.Cn6MCewJt0.TWjGPNgw"/>
</p:tagLst>
</file>

<file path=ppt/tags/tag5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4.xml><?xml version="1.0" encoding="utf-8"?>
<p:tagLst xmlns:a="http://schemas.openxmlformats.org/drawingml/2006/main" xmlns:r="http://schemas.openxmlformats.org/officeDocument/2006/relationships" xmlns:p="http://schemas.openxmlformats.org/presentationml/2006/main">
  <p:tag name="BCG_MODE" val="Presentation"/>
  <p:tag name="BCG_DESIGN" val="Blank"/>
  <p:tag name="EE4P_LAYOUT_ID" val="K"/>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S.Cn6MCewJt0.TWjGPNgw"/>
</p:tagLst>
</file>

<file path=ppt/tags/tag6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2.xml><?xml version="1.0" encoding="utf-8"?>
<p:tagLst xmlns:a="http://schemas.openxmlformats.org/drawingml/2006/main" xmlns:r="http://schemas.openxmlformats.org/officeDocument/2006/relationships" xmlns:p="http://schemas.openxmlformats.org/presentationml/2006/main">
  <p:tag name="BCG_MODE" val="Presentation"/>
  <p:tag name="BCG_DESIGN" val="Blank"/>
  <p:tag name="EE4P_LAYOUT_ID" val="K"/>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S.Cn6MCewJt0.TWjGPNgw"/>
</p:tagLst>
</file>

<file path=ppt/tags/tag7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BCG_MODE" val="Presentation"/>
  <p:tag name="BCG_DESIGN" val="Blank"/>
  <p:tag name="EE4P_LAYOUT_ID" val="K"/>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S.Cn6MCewJt0.TWjGPNgw"/>
</p:tagLst>
</file>

<file path=ppt/tags/tag8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8.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EflHJVAbRG31lgwL_MfsQ"/>
</p:tagLst>
</file>

<file path=ppt/tags/tag91.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PeLHT92EQ76Qo.W_YD5ug"/>
</p:tagLst>
</file>

<file path=ppt/tags/tag94.xml><?xml version="1.0" encoding="utf-8"?>
<p:tagLst xmlns:a="http://schemas.openxmlformats.org/drawingml/2006/main" xmlns:r="http://schemas.openxmlformats.org/officeDocument/2006/relationships" xmlns:p="http://schemas.openxmlformats.org/presentationml/2006/main">
  <p:tag name="BCG_MODE" val="Presentation"/>
  <p:tag name="BCG_DESIGN" val="Arrow half"/>
  <p:tag name="EE4P_LAYOUT_ID" val="K"/>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dBeGSMHRdk.08bSDeujaQ"/>
</p:tagLst>
</file>

<file path=ppt/tags/tag97.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Vv_2fLzcL_a.5tZ8rCk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33</TotalTime>
  <Words>1192</Words>
  <Application>Microsoft Office PowerPoint</Application>
  <PresentationFormat>Widescreen</PresentationFormat>
  <Paragraphs>411</Paragraphs>
  <Slides>25</Slides>
  <Notes>23</Notes>
  <HiddenSlides>2</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5</vt:i4>
      </vt:variant>
      <vt:variant>
        <vt:lpstr>Custom Shows</vt:lpstr>
      </vt:variant>
      <vt:variant>
        <vt:i4>1</vt:i4>
      </vt:variant>
    </vt:vector>
  </HeadingPairs>
  <TitlesOfParts>
    <vt:vector size="30" baseType="lpstr">
      <vt:lpstr>Arial</vt:lpstr>
      <vt:lpstr>Trebuchet MS</vt:lpstr>
      <vt:lpstr>BCG Grid 16:9</vt:lpstr>
      <vt:lpstr>think-cell Slide</vt:lpstr>
      <vt:lpstr>Committee Parameters and Guidelines</vt:lpstr>
      <vt:lpstr>PowerPoint Presentation</vt:lpstr>
      <vt:lpstr>Limitations on committee members</vt:lpstr>
      <vt:lpstr>Competitive Strength Ranking</vt:lpstr>
      <vt:lpstr>CSR assists teams and committee in important decision making</vt:lpstr>
      <vt:lpstr>Events are graded to reflect relative difficulty</vt:lpstr>
      <vt:lpstr>Events are graded to reflect relative difficulty</vt:lpstr>
      <vt:lpstr>Events are graded to reflect relative difficulty</vt:lpstr>
      <vt:lpstr>Events are graded to reflect relative difficulty</vt:lpstr>
      <vt:lpstr>Events are graded to reflect relative difficulty</vt:lpstr>
      <vt:lpstr>Total event score is based on finishing place and competitive level</vt:lpstr>
      <vt:lpstr>Points scaled by finishing place</vt:lpstr>
      <vt:lpstr>Events are graded by level of competition</vt:lpstr>
      <vt:lpstr>Example Performance by Team</vt:lpstr>
      <vt:lpstr>PowerPoint Presentation</vt:lpstr>
      <vt:lpstr>Championship field is filled through multiple selection rounds</vt:lpstr>
      <vt:lpstr>Selection, by rounds, to fill championship field</vt:lpstr>
      <vt:lpstr>Round 3+, groups of teams are segregated by their ranking score and assessed on their cumulative performance</vt:lpstr>
      <vt:lpstr>Example Selection Rounds 1-3</vt:lpstr>
      <vt:lpstr>Example scenario</vt:lpstr>
      <vt:lpstr>Selection of remaining 14 berths</vt:lpstr>
      <vt:lpstr>R3: Group of teams are ordered by committee</vt:lpstr>
      <vt:lpstr>R3: Highest ordered teams advance to championship field</vt:lpstr>
      <vt:lpstr>Committee votes for teams that should be unquestionably be in the national's field</vt:lpstr>
      <vt:lpstr>Selection of remaining field performed iteratively</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Brindley, Mitchell</cp:lastModifiedBy>
  <cp:revision>478</cp:revision>
  <cp:lastPrinted>2000-01-01T05:00:00Z</cp:lastPrinted>
  <dcterms:created xsi:type="dcterms:W3CDTF">2021-02-02T23:26:23Z</dcterms:created>
  <dcterms:modified xsi:type="dcterms:W3CDTF">2021-02-05T21:2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